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3.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4.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5.xml" ContentType="application/vnd.openxmlformats-officedocument.themeOverr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88" r:id="rId9"/>
    <p:sldId id="267" r:id="rId10"/>
    <p:sldId id="272" r:id="rId11"/>
    <p:sldId id="284" r:id="rId12"/>
    <p:sldId id="263" r:id="rId13"/>
    <p:sldId id="279" r:id="rId14"/>
    <p:sldId id="262" r:id="rId15"/>
    <p:sldId id="282" r:id="rId16"/>
    <p:sldId id="261" r:id="rId17"/>
    <p:sldId id="290" r:id="rId18"/>
    <p:sldId id="276" r:id="rId19"/>
    <p:sldId id="275" r:id="rId20"/>
    <p:sldId id="277" r:id="rId21"/>
    <p:sldId id="289" r:id="rId22"/>
    <p:sldId id="264" r:id="rId23"/>
    <p:sldId id="268" r:id="rId24"/>
    <p:sldId id="269" r:id="rId25"/>
    <p:sldId id="1093" r:id="rId26"/>
    <p:sldId id="1096"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12AB3B8-6D48-42E0-855A-A2D631271CB3}" v="1" dt="2024-12-16T09:48:59.779"/>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43"/>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daas, Gunnar Ogwyn" userId="9f116345-df17-4e62-ba90-3f104129b024" providerId="ADAL" clId="{0E518367-61E3-4277-B87B-273418197CE2}"/>
    <pc:docChg chg="custSel modSld">
      <pc:chgData name="Lindaas, Gunnar Ogwyn" userId="9f116345-df17-4e62-ba90-3f104129b024" providerId="ADAL" clId="{0E518367-61E3-4277-B87B-273418197CE2}" dt="2021-10-18T12:08:50.361" v="201" actId="207"/>
      <pc:docMkLst>
        <pc:docMk/>
      </pc:docMkLst>
      <pc:sldChg chg="modSp mod">
        <pc:chgData name="Lindaas, Gunnar Ogwyn" userId="9f116345-df17-4e62-ba90-3f104129b024" providerId="ADAL" clId="{0E518367-61E3-4277-B87B-273418197CE2}" dt="2021-10-18T12:00:15.575" v="13" actId="20577"/>
        <pc:sldMkLst>
          <pc:docMk/>
          <pc:sldMk cId="2044844844" sldId="273"/>
        </pc:sldMkLst>
        <pc:spChg chg="mod">
          <ac:chgData name="Lindaas, Gunnar Ogwyn" userId="9f116345-df17-4e62-ba90-3f104129b024" providerId="ADAL" clId="{0E518367-61E3-4277-B87B-273418197CE2}" dt="2021-10-18T12:00:15.575" v="13" actId="20577"/>
          <ac:spMkLst>
            <pc:docMk/>
            <pc:sldMk cId="2044844844" sldId="273"/>
            <ac:spMk id="5" creationId="{00000000-0000-0000-0000-000000000000}"/>
          </ac:spMkLst>
        </pc:spChg>
        <pc:picChg chg="mod">
          <ac:chgData name="Lindaas, Gunnar Ogwyn" userId="9f116345-df17-4e62-ba90-3f104129b024" providerId="ADAL" clId="{0E518367-61E3-4277-B87B-273418197CE2}" dt="2021-10-18T11:57:36.314" v="1" actId="1076"/>
          <ac:picMkLst>
            <pc:docMk/>
            <pc:sldMk cId="2044844844" sldId="273"/>
            <ac:picMk id="4" creationId="{00000000-0000-0000-0000-000000000000}"/>
          </ac:picMkLst>
        </pc:picChg>
      </pc:sldChg>
      <pc:sldChg chg="modSp mod">
        <pc:chgData name="Lindaas, Gunnar Ogwyn" userId="9f116345-df17-4e62-ba90-3f104129b024" providerId="ADAL" clId="{0E518367-61E3-4277-B87B-273418197CE2}" dt="2021-10-18T12:08:50.361" v="201" actId="207"/>
        <pc:sldMkLst>
          <pc:docMk/>
          <pc:sldMk cId="662108869" sldId="279"/>
        </pc:sldMkLst>
        <pc:spChg chg="mod">
          <ac:chgData name="Lindaas, Gunnar Ogwyn" userId="9f116345-df17-4e62-ba90-3f104129b024" providerId="ADAL" clId="{0E518367-61E3-4277-B87B-273418197CE2}" dt="2021-10-18T12:08:50.361" v="201" actId="207"/>
          <ac:spMkLst>
            <pc:docMk/>
            <pc:sldMk cId="662108869" sldId="279"/>
            <ac:spMk id="10" creationId="{00000000-0000-0000-0000-000000000000}"/>
          </ac:spMkLst>
        </pc:spChg>
      </pc:sldChg>
      <pc:sldChg chg="addSp delSp modSp mod">
        <pc:chgData name="Lindaas, Gunnar Ogwyn" userId="9f116345-df17-4e62-ba90-3f104129b024" providerId="ADAL" clId="{0E518367-61E3-4277-B87B-273418197CE2}" dt="2021-10-18T12:04:51.083" v="51" actId="207"/>
        <pc:sldMkLst>
          <pc:docMk/>
          <pc:sldMk cId="1610994730" sldId="285"/>
        </pc:sldMkLst>
        <pc:spChg chg="mod">
          <ac:chgData name="Lindaas, Gunnar Ogwyn" userId="9f116345-df17-4e62-ba90-3f104129b024" providerId="ADAL" clId="{0E518367-61E3-4277-B87B-273418197CE2}" dt="2021-10-18T12:01:48.710" v="22" actId="20577"/>
          <ac:spMkLst>
            <pc:docMk/>
            <pc:sldMk cId="1610994730" sldId="285"/>
            <ac:spMk id="7" creationId="{00000000-0000-0000-0000-000000000000}"/>
          </ac:spMkLst>
        </pc:spChg>
        <pc:graphicFrameChg chg="add mod">
          <ac:chgData name="Lindaas, Gunnar Ogwyn" userId="9f116345-df17-4e62-ba90-3f104129b024" providerId="ADAL" clId="{0E518367-61E3-4277-B87B-273418197CE2}" dt="2021-10-18T12:04:51.083" v="51" actId="207"/>
          <ac:graphicFrameMkLst>
            <pc:docMk/>
            <pc:sldMk cId="1610994730" sldId="285"/>
            <ac:graphicFrameMk id="8" creationId="{00000000-0008-0000-0200-000002000000}"/>
          </ac:graphicFrameMkLst>
        </pc:graphicFrameChg>
        <pc:graphicFrameChg chg="del">
          <ac:chgData name="Lindaas, Gunnar Ogwyn" userId="9f116345-df17-4e62-ba90-3f104129b024" providerId="ADAL" clId="{0E518367-61E3-4277-B87B-273418197CE2}" dt="2021-10-18T12:04:04.952" v="40" actId="478"/>
          <ac:graphicFrameMkLst>
            <pc:docMk/>
            <pc:sldMk cId="1610994730" sldId="285"/>
            <ac:graphicFrameMk id="9" creationId="{00000000-0000-0000-0000-000000000000}"/>
          </ac:graphicFrameMkLst>
        </pc:graphicFrameChg>
        <pc:graphicFrameChg chg="modGraphic">
          <ac:chgData name="Lindaas, Gunnar Ogwyn" userId="9f116345-df17-4e62-ba90-3f104129b024" providerId="ADAL" clId="{0E518367-61E3-4277-B87B-273418197CE2}" dt="2021-10-18T12:04:01.287" v="39" actId="20577"/>
          <ac:graphicFrameMkLst>
            <pc:docMk/>
            <pc:sldMk cId="1610994730" sldId="285"/>
            <ac:graphicFrameMk id="10" creationId="{00000000-0000-0000-0000-000000000000}"/>
          </ac:graphicFrameMkLst>
        </pc:graphicFrameChg>
        <pc:picChg chg="mod">
          <ac:chgData name="Lindaas, Gunnar Ogwyn" userId="9f116345-df17-4e62-ba90-3f104129b024" providerId="ADAL" clId="{0E518367-61E3-4277-B87B-273418197CE2}" dt="2021-10-18T12:02:03.379" v="23" actId="14826"/>
          <ac:picMkLst>
            <pc:docMk/>
            <pc:sldMk cId="1610994730" sldId="285"/>
            <ac:picMk id="5" creationId="{00000000-0000-0000-0000-000000000000}"/>
          </ac:picMkLst>
        </pc:picChg>
      </pc:sldChg>
    </pc:docChg>
  </pc:docChgLst>
  <pc:docChgLst>
    <pc:chgData name="Frøystein, Oddmund" userId="S::oddmund.froystein@agderfk.no::f26153e0-b432-43d6-86cb-ef0c15d1b72a" providerId="AD" clId="Web-{0D80E666-B519-48D1-9052-4C5FFB2EC7F0}"/>
    <pc:docChg chg="modSld">
      <pc:chgData name="Frøystein, Oddmund" userId="S::oddmund.froystein@agderfk.no::f26153e0-b432-43d6-86cb-ef0c15d1b72a" providerId="AD" clId="Web-{0D80E666-B519-48D1-9052-4C5FFB2EC7F0}" dt="2021-10-26T12:48:07.556" v="1"/>
      <pc:docMkLst>
        <pc:docMk/>
      </pc:docMkLst>
      <pc:sldChg chg="modSp">
        <pc:chgData name="Frøystein, Oddmund" userId="S::oddmund.froystein@agderfk.no::f26153e0-b432-43d6-86cb-ef0c15d1b72a" providerId="AD" clId="Web-{0D80E666-B519-48D1-9052-4C5FFB2EC7F0}" dt="2021-10-26T12:48:07.556" v="1"/>
        <pc:sldMkLst>
          <pc:docMk/>
          <pc:sldMk cId="1380386693" sldId="260"/>
        </pc:sldMkLst>
        <pc:graphicFrameChg chg="mod modGraphic">
          <ac:chgData name="Frøystein, Oddmund" userId="S::oddmund.froystein@agderfk.no::f26153e0-b432-43d6-86cb-ef0c15d1b72a" providerId="AD" clId="Web-{0D80E666-B519-48D1-9052-4C5FFB2EC7F0}" dt="2021-10-26T12:48:07.556" v="1"/>
          <ac:graphicFrameMkLst>
            <pc:docMk/>
            <pc:sldMk cId="1380386693" sldId="260"/>
            <ac:graphicFrameMk id="10" creationId="{00000000-0000-0000-0000-000000000000}"/>
          </ac:graphicFrameMkLst>
        </pc:graphicFrameChg>
      </pc:sldChg>
    </pc:docChg>
  </pc:docChgLst>
  <pc:docChgLst>
    <pc:chgData name="Michaelsen, Børje" userId="c36523e3-11ed-4011-9a41-1983019c0634" providerId="ADAL" clId="{E6A33FFF-2505-483E-9155-3932C1EC5308}"/>
    <pc:docChg chg="undo custSel addSld delSld modSld">
      <pc:chgData name="Michaelsen, Børje" userId="c36523e3-11ed-4011-9a41-1983019c0634" providerId="ADAL" clId="{E6A33FFF-2505-483E-9155-3932C1EC5308}" dt="2023-10-10T08:44:06.853" v="1827" actId="13244"/>
      <pc:docMkLst>
        <pc:docMk/>
      </pc:docMkLst>
      <pc:sldChg chg="modSp mod">
        <pc:chgData name="Michaelsen, Børje" userId="c36523e3-11ed-4011-9a41-1983019c0634" providerId="ADAL" clId="{E6A33FFF-2505-483E-9155-3932C1EC5308}" dt="2023-09-15T08:08:32.537" v="714" actId="962"/>
        <pc:sldMkLst>
          <pc:docMk/>
          <pc:sldMk cId="1115595437" sldId="256"/>
        </pc:sldMkLst>
        <pc:picChg chg="mod">
          <ac:chgData name="Michaelsen, Børje" userId="c36523e3-11ed-4011-9a41-1983019c0634" providerId="ADAL" clId="{E6A33FFF-2505-483E-9155-3932C1EC5308}" dt="2023-09-15T08:08:32.537" v="714" actId="962"/>
          <ac:picMkLst>
            <pc:docMk/>
            <pc:sldMk cId="1115595437" sldId="256"/>
            <ac:picMk id="4" creationId="{00000000-0000-0000-0000-000000000000}"/>
          </ac:picMkLst>
        </pc:picChg>
      </pc:sldChg>
      <pc:sldChg chg="modSp mod modNotesTx">
        <pc:chgData name="Michaelsen, Børje" userId="c36523e3-11ed-4011-9a41-1983019c0634" providerId="ADAL" clId="{E6A33FFF-2505-483E-9155-3932C1EC5308}" dt="2023-09-15T08:24:34.707" v="1061"/>
        <pc:sldMkLst>
          <pc:docMk/>
          <pc:sldMk cId="1380386693" sldId="260"/>
        </pc:sldMkLst>
        <pc:graphicFrameChg chg="mod modGraphic">
          <ac:chgData name="Michaelsen, Børje" userId="c36523e3-11ed-4011-9a41-1983019c0634" providerId="ADAL" clId="{E6A33FFF-2505-483E-9155-3932C1EC5308}" dt="2023-09-15T08:09:13.826" v="720"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E6A33FFF-2505-483E-9155-3932C1EC5308}" dt="2023-09-15T08:09:45.046" v="728" actId="12385"/>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E6A33FFF-2505-483E-9155-3932C1EC5308}" dt="2023-09-15T08:24:34.707" v="1061"/>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E6A33FFF-2505-483E-9155-3932C1EC5308}" dt="2023-09-15T08:24:31.523" v="1060"/>
          <ac:graphicFrameMkLst>
            <pc:docMk/>
            <pc:sldMk cId="1380386693" sldId="260"/>
            <ac:graphicFrameMk id="10" creationId="{00000000-0000-0000-0000-000000000000}"/>
          </ac:graphicFrameMkLst>
        </pc:graphicFrameChg>
        <pc:picChg chg="mod ord">
          <ac:chgData name="Michaelsen, Børje" userId="c36523e3-11ed-4011-9a41-1983019c0634" providerId="ADAL" clId="{E6A33FFF-2505-483E-9155-3932C1EC5308}" dt="2023-09-15T08:24:26.079" v="1058"/>
          <ac:picMkLst>
            <pc:docMk/>
            <pc:sldMk cId="1380386693" sldId="260"/>
            <ac:picMk id="5" creationId="{00000000-0000-0000-0000-000000000000}"/>
          </ac:picMkLst>
        </pc:picChg>
        <pc:picChg chg="mod">
          <ac:chgData name="Michaelsen, Børje" userId="c36523e3-11ed-4011-9a41-1983019c0634" providerId="ADAL" clId="{E6A33FFF-2505-483E-9155-3932C1EC5308}" dt="2023-09-15T08:09:02.608" v="718" actId="962"/>
          <ac:picMkLst>
            <pc:docMk/>
            <pc:sldMk cId="1380386693" sldId="260"/>
            <ac:picMk id="7" creationId="{00000000-0000-0000-0000-000000000000}"/>
          </ac:picMkLst>
        </pc:picChg>
      </pc:sldChg>
      <pc:sldChg chg="addSp delSp modSp mod modNotesTx">
        <pc:chgData name="Michaelsen, Børje" userId="c36523e3-11ed-4011-9a41-1983019c0634" providerId="ADAL" clId="{E6A33FFF-2505-483E-9155-3932C1EC5308}" dt="2023-09-25T10:25:08.106" v="1388"/>
        <pc:sldMkLst>
          <pc:docMk/>
          <pc:sldMk cId="4123357996" sldId="261"/>
        </pc:sldMkLst>
        <pc:spChg chg="mod">
          <ac:chgData name="Michaelsen, Børje" userId="c36523e3-11ed-4011-9a41-1983019c0634" providerId="ADAL" clId="{E6A33FFF-2505-483E-9155-3932C1EC5308}" dt="2023-09-25T10:23:55.251" v="1384" actId="20577"/>
          <ac:spMkLst>
            <pc:docMk/>
            <pc:sldMk cId="4123357996" sldId="261"/>
            <ac:spMk id="3" creationId="{0E208661-40B4-4483-9A05-FE473BED7235}"/>
          </ac:spMkLst>
        </pc:spChg>
        <pc:spChg chg="add mod">
          <ac:chgData name="Michaelsen, Børje" userId="c36523e3-11ed-4011-9a41-1983019c0634" providerId="ADAL" clId="{E6A33FFF-2505-483E-9155-3932C1EC5308}" dt="2023-09-25T10:22:57.975" v="1372"/>
          <ac:spMkLst>
            <pc:docMk/>
            <pc:sldMk cId="4123357996" sldId="261"/>
            <ac:spMk id="5" creationId="{C658FB2D-A70D-2E6D-AD3C-7302E630964D}"/>
          </ac:spMkLst>
        </pc:spChg>
        <pc:spChg chg="del">
          <ac:chgData name="Michaelsen, Børje" userId="c36523e3-11ed-4011-9a41-1983019c0634" providerId="ADAL" clId="{E6A33FFF-2505-483E-9155-3932C1EC5308}" dt="2023-09-15T08:16:23.647" v="882" actId="478"/>
          <ac:spMkLst>
            <pc:docMk/>
            <pc:sldMk cId="4123357996" sldId="261"/>
            <ac:spMk id="7" creationId="{A6D52CC4-017C-4342-80C6-B635DE3CFF15}"/>
          </ac:spMkLst>
        </pc:spChg>
        <pc:spChg chg="ord">
          <ac:chgData name="Michaelsen, Børje" userId="c36523e3-11ed-4011-9a41-1983019c0634" providerId="ADAL" clId="{E6A33FFF-2505-483E-9155-3932C1EC5308}" dt="2023-09-15T08:27:18.307" v="1119"/>
          <ac:spMkLst>
            <pc:docMk/>
            <pc:sldMk cId="4123357996" sldId="261"/>
            <ac:spMk id="8" creationId="{00000000-0000-0000-0000-000000000000}"/>
          </ac:spMkLst>
        </pc:spChg>
        <pc:graphicFrameChg chg="add mod ord modGraphic">
          <ac:chgData name="Michaelsen, Børje" userId="c36523e3-11ed-4011-9a41-1983019c0634" providerId="ADAL" clId="{E6A33FFF-2505-483E-9155-3932C1EC5308}" dt="2023-09-25T10:22:53.350" v="1371" actId="1076"/>
          <ac:graphicFrameMkLst>
            <pc:docMk/>
            <pc:sldMk cId="4123357996" sldId="261"/>
            <ac:graphicFrameMk id="4" creationId="{08A17351-A099-5DB4-EBE0-848D2D26F06F}"/>
          </ac:graphicFrameMkLst>
        </pc:graphicFrameChg>
        <pc:graphicFrameChg chg="add mod">
          <ac:chgData name="Michaelsen, Børje" userId="c36523e3-11ed-4011-9a41-1983019c0634" providerId="ADAL" clId="{E6A33FFF-2505-483E-9155-3932C1EC5308}" dt="2023-09-25T10:25:08.106" v="1388"/>
          <ac:graphicFrameMkLst>
            <pc:docMk/>
            <pc:sldMk cId="4123357996" sldId="261"/>
            <ac:graphicFrameMk id="6" creationId="{18197FB1-9372-F1DC-4225-665AF0196003}"/>
          </ac:graphicFrameMkLst>
        </pc:graphicFrameChg>
        <pc:graphicFrameChg chg="del mod">
          <ac:chgData name="Michaelsen, Børje" userId="c36523e3-11ed-4011-9a41-1983019c0634" providerId="ADAL" clId="{E6A33FFF-2505-483E-9155-3932C1EC5308}" dt="2023-09-25T10:23:28.070" v="1374" actId="478"/>
          <ac:graphicFrameMkLst>
            <pc:docMk/>
            <pc:sldMk cId="4123357996" sldId="261"/>
            <ac:graphicFrameMk id="9" creationId="{00000000-0000-0000-0000-000000000000}"/>
          </ac:graphicFrameMkLst>
        </pc:graphicFrameChg>
        <pc:picChg chg="del">
          <ac:chgData name="Michaelsen, Børje" userId="c36523e3-11ed-4011-9a41-1983019c0634" providerId="ADAL" clId="{E6A33FFF-2505-483E-9155-3932C1EC5308}" dt="2023-09-13T14:10:15.381" v="710" actId="478"/>
          <ac:picMkLst>
            <pc:docMk/>
            <pc:sldMk cId="4123357996" sldId="261"/>
            <ac:picMk id="5" creationId="{00000000-0000-0000-0000-000000000000}"/>
          </ac:picMkLst>
        </pc:picChg>
      </pc:sldChg>
      <pc:sldChg chg="modSp mod">
        <pc:chgData name="Michaelsen, Børje" userId="c36523e3-11ed-4011-9a41-1983019c0634" providerId="ADAL" clId="{E6A33FFF-2505-483E-9155-3932C1EC5308}" dt="2023-09-15T08:15:52.516" v="841" actId="962"/>
        <pc:sldMkLst>
          <pc:docMk/>
          <pc:sldMk cId="1502201355" sldId="262"/>
        </pc:sldMkLst>
        <pc:picChg chg="mod">
          <ac:chgData name="Michaelsen, Børje" userId="c36523e3-11ed-4011-9a41-1983019c0634" providerId="ADAL" clId="{E6A33FFF-2505-483E-9155-3932C1EC5308}" dt="2023-09-15T08:15:38.480" v="834" actId="962"/>
          <ac:picMkLst>
            <pc:docMk/>
            <pc:sldMk cId="1502201355" sldId="262"/>
            <ac:picMk id="4" creationId="{00000000-0000-0000-0000-000000000000}"/>
          </ac:picMkLst>
        </pc:picChg>
        <pc:picChg chg="mod">
          <ac:chgData name="Michaelsen, Børje" userId="c36523e3-11ed-4011-9a41-1983019c0634" providerId="ADAL" clId="{E6A33FFF-2505-483E-9155-3932C1EC5308}" dt="2023-09-15T08:15:40.361" v="835" actId="962"/>
          <ac:picMkLst>
            <pc:docMk/>
            <pc:sldMk cId="1502201355" sldId="262"/>
            <ac:picMk id="5" creationId="{00000000-0000-0000-0000-000000000000}"/>
          </ac:picMkLst>
        </pc:picChg>
        <pc:picChg chg="mod">
          <ac:chgData name="Michaelsen, Børje" userId="c36523e3-11ed-4011-9a41-1983019c0634" providerId="ADAL" clId="{E6A33FFF-2505-483E-9155-3932C1EC5308}" dt="2023-09-15T08:15:42.130" v="836" actId="962"/>
          <ac:picMkLst>
            <pc:docMk/>
            <pc:sldMk cId="1502201355" sldId="262"/>
            <ac:picMk id="6" creationId="{00000000-0000-0000-0000-000000000000}"/>
          </ac:picMkLst>
        </pc:picChg>
        <pc:picChg chg="mod">
          <ac:chgData name="Michaelsen, Børje" userId="c36523e3-11ed-4011-9a41-1983019c0634" providerId="ADAL" clId="{E6A33FFF-2505-483E-9155-3932C1EC5308}" dt="2023-09-15T08:15:44.914" v="837" actId="962"/>
          <ac:picMkLst>
            <pc:docMk/>
            <pc:sldMk cId="1502201355" sldId="262"/>
            <ac:picMk id="7" creationId="{00000000-0000-0000-0000-000000000000}"/>
          </ac:picMkLst>
        </pc:picChg>
        <pc:picChg chg="mod">
          <ac:chgData name="Michaelsen, Børje" userId="c36523e3-11ed-4011-9a41-1983019c0634" providerId="ADAL" clId="{E6A33FFF-2505-483E-9155-3932C1EC5308}" dt="2023-09-15T08:15:46.458" v="838" actId="962"/>
          <ac:picMkLst>
            <pc:docMk/>
            <pc:sldMk cId="1502201355" sldId="262"/>
            <ac:picMk id="8" creationId="{00000000-0000-0000-0000-000000000000}"/>
          </ac:picMkLst>
        </pc:picChg>
        <pc:picChg chg="mod">
          <ac:chgData name="Michaelsen, Børje" userId="c36523e3-11ed-4011-9a41-1983019c0634" providerId="ADAL" clId="{E6A33FFF-2505-483E-9155-3932C1EC5308}" dt="2023-09-15T08:15:48.381" v="839" actId="962"/>
          <ac:picMkLst>
            <pc:docMk/>
            <pc:sldMk cId="1502201355" sldId="262"/>
            <ac:picMk id="9" creationId="{00000000-0000-0000-0000-000000000000}"/>
          </ac:picMkLst>
        </pc:picChg>
        <pc:picChg chg="mod">
          <ac:chgData name="Michaelsen, Børje" userId="c36523e3-11ed-4011-9a41-1983019c0634" providerId="ADAL" clId="{E6A33FFF-2505-483E-9155-3932C1EC5308}" dt="2023-09-15T08:15:50.537" v="840" actId="962"/>
          <ac:picMkLst>
            <pc:docMk/>
            <pc:sldMk cId="1502201355" sldId="262"/>
            <ac:picMk id="10" creationId="{00000000-0000-0000-0000-000000000000}"/>
          </ac:picMkLst>
        </pc:picChg>
        <pc:picChg chg="mod">
          <ac:chgData name="Michaelsen, Børje" userId="c36523e3-11ed-4011-9a41-1983019c0634" providerId="ADAL" clId="{E6A33FFF-2505-483E-9155-3932C1EC5308}" dt="2023-09-15T08:15:52.516" v="841" actId="962"/>
          <ac:picMkLst>
            <pc:docMk/>
            <pc:sldMk cId="1502201355" sldId="262"/>
            <ac:picMk id="11" creationId="{00000000-0000-0000-0000-000000000000}"/>
          </ac:picMkLst>
        </pc:picChg>
      </pc:sldChg>
      <pc:sldChg chg="addSp delSp modSp mod">
        <pc:chgData name="Michaelsen, Børje" userId="c36523e3-11ed-4011-9a41-1983019c0634" providerId="ADAL" clId="{E6A33FFF-2505-483E-9155-3932C1EC5308}" dt="2023-09-15T08:26:37.936" v="1116"/>
        <pc:sldMkLst>
          <pc:docMk/>
          <pc:sldMk cId="3237931907" sldId="263"/>
        </pc:sldMkLst>
        <pc:spChg chg="mod">
          <ac:chgData name="Michaelsen, Børje" userId="c36523e3-11ed-4011-9a41-1983019c0634" providerId="ADAL" clId="{E6A33FFF-2505-483E-9155-3932C1EC5308}" dt="2023-09-13T09:35:46.517" v="628" actId="20577"/>
          <ac:spMkLst>
            <pc:docMk/>
            <pc:sldMk cId="3237931907" sldId="263"/>
            <ac:spMk id="10" creationId="{00000000-0000-0000-0000-000000000000}"/>
          </ac:spMkLst>
        </pc:spChg>
        <pc:graphicFrameChg chg="add mod">
          <ac:chgData name="Michaelsen, Børje" userId="c36523e3-11ed-4011-9a41-1983019c0634" providerId="ADAL" clId="{E6A33FFF-2505-483E-9155-3932C1EC5308}" dt="2023-09-15T08:26:37.936" v="1116"/>
          <ac:graphicFrameMkLst>
            <pc:docMk/>
            <pc:sldMk cId="3237931907" sldId="263"/>
            <ac:graphicFrameMk id="3" creationId="{900796C7-9568-AA7D-48B1-D162673FAB3E}"/>
          </ac:graphicFrameMkLst>
        </pc:graphicFrameChg>
        <pc:graphicFrameChg chg="del">
          <ac:chgData name="Michaelsen, Børje" userId="c36523e3-11ed-4011-9a41-1983019c0634" providerId="ADAL" clId="{E6A33FFF-2505-483E-9155-3932C1EC5308}" dt="2023-09-13T09:37:18.692" v="635" actId="478"/>
          <ac:graphicFrameMkLst>
            <pc:docMk/>
            <pc:sldMk cId="3237931907" sldId="263"/>
            <ac:graphicFrameMk id="4" creationId="{00000000-0000-0000-0000-000000000000}"/>
          </ac:graphicFrameMkLst>
        </pc:graphicFrameChg>
        <pc:graphicFrameChg chg="add mod">
          <ac:chgData name="Michaelsen, Børje" userId="c36523e3-11ed-4011-9a41-1983019c0634" providerId="ADAL" clId="{E6A33FFF-2505-483E-9155-3932C1EC5308}" dt="2023-09-15T08:14:51.899" v="829"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E6A33FFF-2505-483E-9155-3932C1EC5308}" dt="2023-09-15T08:23:42.288" v="1052" actId="113"/>
          <ac:graphicFrameMkLst>
            <pc:docMk/>
            <pc:sldMk cId="3237931907" sldId="263"/>
            <ac:graphicFrameMk id="6" creationId="{5811086E-7EBB-5CCF-E9C8-6A367F6717D6}"/>
          </ac:graphicFrameMkLst>
        </pc:graphicFrameChg>
        <pc:graphicFrameChg chg="del">
          <ac:chgData name="Michaelsen, Børje" userId="c36523e3-11ed-4011-9a41-1983019c0634" providerId="ADAL" clId="{E6A33FFF-2505-483E-9155-3932C1EC5308}" dt="2023-09-13T09:34:23.524" v="597" actId="478"/>
          <ac:graphicFrameMkLst>
            <pc:docMk/>
            <pc:sldMk cId="3237931907" sldId="263"/>
            <ac:graphicFrameMk id="8" creationId="{00000000-0008-0000-0100-000002000000}"/>
          </ac:graphicFrameMkLst>
        </pc:graphicFrameChg>
        <pc:graphicFrameChg chg="del">
          <ac:chgData name="Michaelsen, Børje" userId="c36523e3-11ed-4011-9a41-1983019c0634" providerId="ADAL" clId="{E6A33FFF-2505-483E-9155-3932C1EC5308}" dt="2023-09-13T09:36:45.392" v="629" actId="478"/>
          <ac:graphicFrameMkLst>
            <pc:docMk/>
            <pc:sldMk cId="3237931907" sldId="263"/>
            <ac:graphicFrameMk id="9" creationId="{00000000-0008-0000-0100-000005000000}"/>
          </ac:graphicFrameMkLst>
        </pc:graphicFrameChg>
      </pc:sldChg>
      <pc:sldChg chg="modSp mod">
        <pc:chgData name="Michaelsen, Børje" userId="c36523e3-11ed-4011-9a41-1983019c0634" providerId="ADAL" clId="{E6A33FFF-2505-483E-9155-3932C1EC5308}" dt="2023-09-15T08:19:39.691" v="931" actId="962"/>
        <pc:sldMkLst>
          <pc:docMk/>
          <pc:sldMk cId="445425979" sldId="264"/>
        </pc:sldMkLst>
        <pc:picChg chg="mod">
          <ac:chgData name="Michaelsen, Børje" userId="c36523e3-11ed-4011-9a41-1983019c0634" providerId="ADAL" clId="{E6A33FFF-2505-483E-9155-3932C1EC5308}" dt="2023-09-15T08:19:33.108" v="928" actId="962"/>
          <ac:picMkLst>
            <pc:docMk/>
            <pc:sldMk cId="445425979" sldId="264"/>
            <ac:picMk id="4" creationId="{00000000-0000-0000-0000-000000000000}"/>
          </ac:picMkLst>
        </pc:picChg>
        <pc:picChg chg="mod">
          <ac:chgData name="Michaelsen, Børje" userId="c36523e3-11ed-4011-9a41-1983019c0634" providerId="ADAL" clId="{E6A33FFF-2505-483E-9155-3932C1EC5308}" dt="2023-09-15T08:19:34.901" v="929" actId="962"/>
          <ac:picMkLst>
            <pc:docMk/>
            <pc:sldMk cId="445425979" sldId="264"/>
            <ac:picMk id="5" creationId="{00000000-0000-0000-0000-000000000000}"/>
          </ac:picMkLst>
        </pc:picChg>
        <pc:picChg chg="mod">
          <ac:chgData name="Michaelsen, Børje" userId="c36523e3-11ed-4011-9a41-1983019c0634" providerId="ADAL" clId="{E6A33FFF-2505-483E-9155-3932C1EC5308}" dt="2023-09-15T08:19:37.961" v="930" actId="962"/>
          <ac:picMkLst>
            <pc:docMk/>
            <pc:sldMk cId="445425979" sldId="264"/>
            <ac:picMk id="6" creationId="{00000000-0000-0000-0000-000000000000}"/>
          </ac:picMkLst>
        </pc:picChg>
        <pc:picChg chg="mod">
          <ac:chgData name="Michaelsen, Børje" userId="c36523e3-11ed-4011-9a41-1983019c0634" providerId="ADAL" clId="{E6A33FFF-2505-483E-9155-3932C1EC5308}" dt="2023-09-15T08:19:39.691" v="931" actId="962"/>
          <ac:picMkLst>
            <pc:docMk/>
            <pc:sldMk cId="445425979" sldId="264"/>
            <ac:picMk id="7" creationId="{00000000-0000-0000-0000-000000000000}"/>
          </ac:picMkLst>
        </pc:picChg>
      </pc:sldChg>
      <pc:sldChg chg="modSp mod">
        <pc:chgData name="Michaelsen, Børje" userId="c36523e3-11ed-4011-9a41-1983019c0634" providerId="ADAL" clId="{E6A33FFF-2505-483E-9155-3932C1EC5308}" dt="2023-09-15T08:11:44.051" v="780" actId="962"/>
        <pc:sldMkLst>
          <pc:docMk/>
          <pc:sldMk cId="2441531406" sldId="267"/>
        </pc:sldMkLst>
        <pc:picChg chg="mod">
          <ac:chgData name="Michaelsen, Børje" userId="c36523e3-11ed-4011-9a41-1983019c0634" providerId="ADAL" clId="{E6A33FFF-2505-483E-9155-3932C1EC5308}" dt="2023-09-15T08:11:37.387" v="777" actId="962"/>
          <ac:picMkLst>
            <pc:docMk/>
            <pc:sldMk cId="2441531406" sldId="267"/>
            <ac:picMk id="4" creationId="{00000000-0000-0000-0000-000000000000}"/>
          </ac:picMkLst>
        </pc:picChg>
        <pc:picChg chg="mod">
          <ac:chgData name="Michaelsen, Børje" userId="c36523e3-11ed-4011-9a41-1983019c0634" providerId="ADAL" clId="{E6A33FFF-2505-483E-9155-3932C1EC5308}" dt="2023-09-15T08:11:39.992" v="778" actId="962"/>
          <ac:picMkLst>
            <pc:docMk/>
            <pc:sldMk cId="2441531406" sldId="267"/>
            <ac:picMk id="5" creationId="{00000000-0000-0000-0000-000000000000}"/>
          </ac:picMkLst>
        </pc:picChg>
        <pc:picChg chg="mod">
          <ac:chgData name="Michaelsen, Børje" userId="c36523e3-11ed-4011-9a41-1983019c0634" providerId="ADAL" clId="{E6A33FFF-2505-483E-9155-3932C1EC5308}" dt="2023-09-15T08:11:41.881" v="779" actId="962"/>
          <ac:picMkLst>
            <pc:docMk/>
            <pc:sldMk cId="2441531406" sldId="267"/>
            <ac:picMk id="6" creationId="{00000000-0000-0000-0000-000000000000}"/>
          </ac:picMkLst>
        </pc:picChg>
        <pc:picChg chg="mod">
          <ac:chgData name="Michaelsen, Børje" userId="c36523e3-11ed-4011-9a41-1983019c0634" providerId="ADAL" clId="{E6A33FFF-2505-483E-9155-3932C1EC5308}" dt="2023-09-15T08:11:44.051" v="780" actId="962"/>
          <ac:picMkLst>
            <pc:docMk/>
            <pc:sldMk cId="2441531406" sldId="267"/>
            <ac:picMk id="7" creationId="{00000000-0000-0000-0000-000000000000}"/>
          </ac:picMkLst>
        </pc:picChg>
      </pc:sldChg>
      <pc:sldChg chg="addSp modSp mod">
        <pc:chgData name="Michaelsen, Børje" userId="c36523e3-11ed-4011-9a41-1983019c0634" providerId="ADAL" clId="{E6A33FFF-2505-483E-9155-3932C1EC5308}" dt="2023-09-29T12:51:24.163" v="1700"/>
        <pc:sldMkLst>
          <pc:docMk/>
          <pc:sldMk cId="394652420" sldId="268"/>
        </pc:sldMkLst>
        <pc:spChg chg="add mod">
          <ac:chgData name="Michaelsen, Børje" userId="c36523e3-11ed-4011-9a41-1983019c0634" providerId="ADAL" clId="{E6A33FFF-2505-483E-9155-3932C1EC5308}" dt="2023-09-29T12:51:24.163" v="1700"/>
          <ac:spMkLst>
            <pc:docMk/>
            <pc:sldMk cId="394652420" sldId="268"/>
            <ac:spMk id="4" creationId="{623F5FD2-FA8D-DBAD-3E71-C1ACC8ED2307}"/>
          </ac:spMkLst>
        </pc:spChg>
        <pc:picChg chg="mod ord">
          <ac:chgData name="Michaelsen, Børje" userId="c36523e3-11ed-4011-9a41-1983019c0634" providerId="ADAL" clId="{E6A33FFF-2505-483E-9155-3932C1EC5308}" dt="2023-09-15T08:28:46.217" v="1133"/>
          <ac:picMkLst>
            <pc:docMk/>
            <pc:sldMk cId="394652420" sldId="268"/>
            <ac:picMk id="6" creationId="{00000000-0000-0000-0000-000000000000}"/>
          </ac:picMkLst>
        </pc:picChg>
      </pc:sldChg>
      <pc:sldChg chg="addSp delSp modSp mod modNotesTx">
        <pc:chgData name="Michaelsen, Børje" userId="c36523e3-11ed-4011-9a41-1983019c0634" providerId="ADAL" clId="{E6A33FFF-2505-483E-9155-3932C1EC5308}" dt="2023-09-15T08:29:03.163" v="1140" actId="962"/>
        <pc:sldMkLst>
          <pc:docMk/>
          <pc:sldMk cId="1763573476" sldId="269"/>
        </pc:sldMkLst>
        <pc:spChg chg="mod">
          <ac:chgData name="Michaelsen, Børje" userId="c36523e3-11ed-4011-9a41-1983019c0634" providerId="ADAL" clId="{E6A33FFF-2505-483E-9155-3932C1EC5308}" dt="2023-08-29T13:35:27.836" v="238" actId="14100"/>
          <ac:spMkLst>
            <pc:docMk/>
            <pc:sldMk cId="1763573476" sldId="269"/>
            <ac:spMk id="3" creationId="{00000000-0000-0000-0000-000000000000}"/>
          </ac:spMkLst>
        </pc:spChg>
        <pc:spChg chg="add mod">
          <ac:chgData name="Michaelsen, Børje" userId="c36523e3-11ed-4011-9a41-1983019c0634" providerId="ADAL" clId="{E6A33FFF-2505-483E-9155-3932C1EC5308}" dt="2023-08-29T13:35:36.513" v="239"/>
          <ac:spMkLst>
            <pc:docMk/>
            <pc:sldMk cId="1763573476" sldId="269"/>
            <ac:spMk id="5" creationId="{EB0A9251-D27D-EDB6-2E21-792824CC31B3}"/>
          </ac:spMkLst>
        </pc:spChg>
        <pc:graphicFrameChg chg="add mod">
          <ac:chgData name="Michaelsen, Børje" userId="c36523e3-11ed-4011-9a41-1983019c0634" providerId="ADAL" clId="{E6A33FFF-2505-483E-9155-3932C1EC5308}" dt="2023-09-15T08:28:55.970" v="1134"/>
          <ac:graphicFrameMkLst>
            <pc:docMk/>
            <pc:sldMk cId="1763573476" sldId="269"/>
            <ac:graphicFrameMk id="6" creationId="{A1A94EB7-1276-6FE4-BDE8-4C8AFDB3ADC4}"/>
          </ac:graphicFrameMkLst>
        </pc:graphicFrameChg>
        <pc:picChg chg="del">
          <ac:chgData name="Michaelsen, Børje" userId="c36523e3-11ed-4011-9a41-1983019c0634" providerId="ADAL" clId="{E6A33FFF-2505-483E-9155-3932C1EC5308}" dt="2023-08-29T13:35:39.117" v="240" actId="478"/>
          <ac:picMkLst>
            <pc:docMk/>
            <pc:sldMk cId="1763573476" sldId="269"/>
            <ac:picMk id="4" creationId="{00000000-0000-0000-0000-000000000000}"/>
          </ac:picMkLst>
        </pc:picChg>
        <pc:picChg chg="add mod">
          <ac:chgData name="Michaelsen, Børje" userId="c36523e3-11ed-4011-9a41-1983019c0634" providerId="ADAL" clId="{E6A33FFF-2505-483E-9155-3932C1EC5308}" dt="2023-09-15T08:29:00.095" v="1135" actId="962"/>
          <ac:picMkLst>
            <pc:docMk/>
            <pc:sldMk cId="1763573476" sldId="269"/>
            <ac:picMk id="7" creationId="{E88FB574-9C5C-6D5D-27DB-EB3A93C82932}"/>
          </ac:picMkLst>
        </pc:picChg>
        <pc:picChg chg="add mod">
          <ac:chgData name="Michaelsen, Børje" userId="c36523e3-11ed-4011-9a41-1983019c0634" providerId="ADAL" clId="{E6A33FFF-2505-483E-9155-3932C1EC5308}" dt="2023-09-15T08:29:00.697" v="1136" actId="962"/>
          <ac:picMkLst>
            <pc:docMk/>
            <pc:sldMk cId="1763573476" sldId="269"/>
            <ac:picMk id="8" creationId="{2B31ED66-DB86-9EE4-FFB7-0BAD64CB21E3}"/>
          </ac:picMkLst>
        </pc:picChg>
        <pc:picChg chg="add mod">
          <ac:chgData name="Michaelsen, Børje" userId="c36523e3-11ed-4011-9a41-1983019c0634" providerId="ADAL" clId="{E6A33FFF-2505-483E-9155-3932C1EC5308}" dt="2023-09-15T08:29:01.280" v="1137" actId="962"/>
          <ac:picMkLst>
            <pc:docMk/>
            <pc:sldMk cId="1763573476" sldId="269"/>
            <ac:picMk id="9" creationId="{55AE8C8D-9E3A-D80A-DD58-070538506059}"/>
          </ac:picMkLst>
        </pc:picChg>
        <pc:picChg chg="add mod">
          <ac:chgData name="Michaelsen, Børje" userId="c36523e3-11ed-4011-9a41-1983019c0634" providerId="ADAL" clId="{E6A33FFF-2505-483E-9155-3932C1EC5308}" dt="2023-09-15T08:29:01.777" v="1138" actId="962"/>
          <ac:picMkLst>
            <pc:docMk/>
            <pc:sldMk cId="1763573476" sldId="269"/>
            <ac:picMk id="10" creationId="{18F445A5-70C2-1058-659F-0AAF121E2D7F}"/>
          </ac:picMkLst>
        </pc:picChg>
        <pc:picChg chg="add mod">
          <ac:chgData name="Michaelsen, Børje" userId="c36523e3-11ed-4011-9a41-1983019c0634" providerId="ADAL" clId="{E6A33FFF-2505-483E-9155-3932C1EC5308}" dt="2023-09-15T08:29:02.528" v="1139" actId="962"/>
          <ac:picMkLst>
            <pc:docMk/>
            <pc:sldMk cId="1763573476" sldId="269"/>
            <ac:picMk id="11" creationId="{A70B7425-EDCF-5850-EB83-36F03A315FD3}"/>
          </ac:picMkLst>
        </pc:picChg>
        <pc:picChg chg="add mod">
          <ac:chgData name="Michaelsen, Børje" userId="c36523e3-11ed-4011-9a41-1983019c0634" providerId="ADAL" clId="{E6A33FFF-2505-483E-9155-3932C1EC5308}" dt="2023-09-15T08:29:03.163" v="1140" actId="962"/>
          <ac:picMkLst>
            <pc:docMk/>
            <pc:sldMk cId="1763573476" sldId="269"/>
            <ac:picMk id="12" creationId="{97BB1E70-2BE2-ABB1-014F-C1B860AFBD6A}"/>
          </ac:picMkLst>
        </pc:picChg>
      </pc:sldChg>
      <pc:sldChg chg="addSp delSp modSp mod">
        <pc:chgData name="Michaelsen, Børje" userId="c36523e3-11ed-4011-9a41-1983019c0634" providerId="ADAL" clId="{E6A33FFF-2505-483E-9155-3932C1EC5308}" dt="2023-09-15T08:23:29.320" v="1050" actId="12385"/>
        <pc:sldMkLst>
          <pc:docMk/>
          <pc:sldMk cId="1348694183" sldId="272"/>
        </pc:sldMkLst>
        <pc:spChg chg="del">
          <ac:chgData name="Michaelsen, Børje" userId="c36523e3-11ed-4011-9a41-1983019c0634" providerId="ADAL" clId="{E6A33FFF-2505-483E-9155-3932C1EC5308}" dt="2023-08-28T07:06:18.992" v="67" actId="478"/>
          <ac:spMkLst>
            <pc:docMk/>
            <pc:sldMk cId="1348694183" sldId="272"/>
            <ac:spMk id="7" creationId="{00000000-0000-0000-0000-000000000000}"/>
          </ac:spMkLst>
        </pc:spChg>
        <pc:spChg chg="add mod">
          <ac:chgData name="Michaelsen, Børje" userId="c36523e3-11ed-4011-9a41-1983019c0634" providerId="ADAL" clId="{E6A33FFF-2505-483E-9155-3932C1EC5308}" dt="2023-08-28T07:06:54.062" v="86" actId="1035"/>
          <ac:spMkLst>
            <pc:docMk/>
            <pc:sldMk cId="1348694183" sldId="272"/>
            <ac:spMk id="8" creationId="{2657CD77-47C6-5BFC-5EDA-CF9073283A46}"/>
          </ac:spMkLst>
        </pc:spChg>
        <pc:graphicFrameChg chg="mod modGraphic">
          <ac:chgData name="Michaelsen, Børje" userId="c36523e3-11ed-4011-9a41-1983019c0634" providerId="ADAL" clId="{E6A33FFF-2505-483E-9155-3932C1EC5308}" dt="2023-09-15T08:23:29.320" v="1050" actId="12385"/>
          <ac:graphicFrameMkLst>
            <pc:docMk/>
            <pc:sldMk cId="1348694183" sldId="272"/>
            <ac:graphicFrameMk id="6" creationId="{00000000-0000-0000-0000-000000000000}"/>
          </ac:graphicFrameMkLst>
        </pc:graphicFrameChg>
        <pc:picChg chg="del">
          <ac:chgData name="Michaelsen, Børje" userId="c36523e3-11ed-4011-9a41-1983019c0634" providerId="ADAL" clId="{E6A33FFF-2505-483E-9155-3932C1EC5308}" dt="2023-08-28T07:06:25.662" v="68" actId="478"/>
          <ac:picMkLst>
            <pc:docMk/>
            <pc:sldMk cId="1348694183" sldId="272"/>
            <ac:picMk id="3" creationId="{00000000-0000-0000-0000-000000000000}"/>
          </ac:picMkLst>
        </pc:picChg>
        <pc:picChg chg="add mod">
          <ac:chgData name="Michaelsen, Børje" userId="c36523e3-11ed-4011-9a41-1983019c0634" providerId="ADAL" clId="{E6A33FFF-2505-483E-9155-3932C1EC5308}" dt="2023-09-15T08:11:57.260" v="782" actId="962"/>
          <ac:picMkLst>
            <pc:docMk/>
            <pc:sldMk cId="1348694183" sldId="272"/>
            <ac:picMk id="4" creationId="{2F1426EA-EA5E-6D12-19E7-4BC62398CF34}"/>
          </ac:picMkLst>
        </pc:picChg>
      </pc:sldChg>
      <pc:sldChg chg="modSp mod">
        <pc:chgData name="Michaelsen, Børje" userId="c36523e3-11ed-4011-9a41-1983019c0634" providerId="ADAL" clId="{E6A33FFF-2505-483E-9155-3932C1EC5308}" dt="2023-09-22T09:23:58.468" v="1330" actId="962"/>
        <pc:sldMkLst>
          <pc:docMk/>
          <pc:sldMk cId="2044844844" sldId="273"/>
        </pc:sldMkLst>
        <pc:picChg chg="mod ord">
          <ac:chgData name="Michaelsen, Børje" userId="c36523e3-11ed-4011-9a41-1983019c0634" providerId="ADAL" clId="{E6A33FFF-2505-483E-9155-3932C1EC5308}" dt="2023-09-22T09:23:58.468" v="1330" actId="962"/>
          <ac:picMkLst>
            <pc:docMk/>
            <pc:sldMk cId="2044844844" sldId="273"/>
            <ac:picMk id="3" creationId="{00000000-0000-0000-0000-000000000000}"/>
          </ac:picMkLst>
        </pc:picChg>
      </pc:sldChg>
      <pc:sldChg chg="addSp modSp mod">
        <pc:chgData name="Michaelsen, Børje" userId="c36523e3-11ed-4011-9a41-1983019c0634" providerId="ADAL" clId="{E6A33FFF-2505-483E-9155-3932C1EC5308}" dt="2023-09-29T12:50:21.969" v="1696"/>
        <pc:sldMkLst>
          <pc:docMk/>
          <pc:sldMk cId="340623003" sldId="274"/>
        </pc:sldMkLst>
        <pc:spChg chg="add mod">
          <ac:chgData name="Michaelsen, Børje" userId="c36523e3-11ed-4011-9a41-1983019c0634" providerId="ADAL" clId="{E6A33FFF-2505-483E-9155-3932C1EC5308}" dt="2023-09-29T12:50:21.969" v="1696"/>
          <ac:spMkLst>
            <pc:docMk/>
            <pc:sldMk cId="340623003" sldId="274"/>
            <ac:spMk id="3" creationId="{068D2664-0B7A-2A5F-F508-CEB0A08FAA22}"/>
          </ac:spMkLst>
        </pc:spChg>
        <pc:graphicFrameChg chg="mod">
          <ac:chgData name="Michaelsen, Børje" userId="c36523e3-11ed-4011-9a41-1983019c0634" providerId="ADAL" clId="{E6A33FFF-2505-483E-9155-3932C1EC5308}" dt="2023-09-22T09:24:13.054" v="1368" actId="962"/>
          <ac:graphicFrameMkLst>
            <pc:docMk/>
            <pc:sldMk cId="340623003" sldId="274"/>
            <ac:graphicFrameMk id="7" creationId="{00000000-0008-0000-0100-000002000000}"/>
          </ac:graphicFrameMkLst>
        </pc:graphicFrameChg>
        <pc:picChg chg="mod ord">
          <ac:chgData name="Michaelsen, Børje" userId="c36523e3-11ed-4011-9a41-1983019c0634" providerId="ADAL" clId="{E6A33FFF-2505-483E-9155-3932C1EC5308}" dt="2023-09-15T08:24:47.730" v="1064"/>
          <ac:picMkLst>
            <pc:docMk/>
            <pc:sldMk cId="340623003" sldId="274"/>
            <ac:picMk id="5" creationId="{00000000-0000-0000-0000-000000000000}"/>
          </ac:picMkLst>
        </pc:picChg>
      </pc:sldChg>
      <pc:sldChg chg="addSp delSp modSp mod modNotesTx">
        <pc:chgData name="Michaelsen, Børje" userId="c36523e3-11ed-4011-9a41-1983019c0634" providerId="ADAL" clId="{E6A33FFF-2505-483E-9155-3932C1EC5308}" dt="2023-09-15T08:18:17.379" v="893" actId="962"/>
        <pc:sldMkLst>
          <pc:docMk/>
          <pc:sldMk cId="4110371661" sldId="275"/>
        </pc:sldMkLst>
        <pc:spChg chg="mod">
          <ac:chgData name="Michaelsen, Børje" userId="c36523e3-11ed-4011-9a41-1983019c0634" providerId="ADAL" clId="{E6A33FFF-2505-483E-9155-3932C1EC5308}" dt="2023-08-29T06:02:27.405" v="123" actId="14100"/>
          <ac:spMkLst>
            <pc:docMk/>
            <pc:sldMk cId="4110371661" sldId="275"/>
            <ac:spMk id="3" creationId="{00000000-0000-0000-0000-000000000000}"/>
          </ac:spMkLst>
        </pc:spChg>
        <pc:spChg chg="add mod">
          <ac:chgData name="Michaelsen, Børje" userId="c36523e3-11ed-4011-9a41-1983019c0634" providerId="ADAL" clId="{E6A33FFF-2505-483E-9155-3932C1EC5308}" dt="2023-08-29T06:10:25.269" v="233" actId="1035"/>
          <ac:spMkLst>
            <pc:docMk/>
            <pc:sldMk cId="4110371661" sldId="275"/>
            <ac:spMk id="4" creationId="{B581708A-CA63-3B9F-A11A-A69ABC0C2A63}"/>
          </ac:spMkLst>
        </pc:spChg>
        <pc:spChg chg="del mod">
          <ac:chgData name="Michaelsen, Børje" userId="c36523e3-11ed-4011-9a41-1983019c0634" providerId="ADAL" clId="{E6A33FFF-2505-483E-9155-3932C1EC5308}" dt="2023-08-29T06:10:03.305" v="154" actId="478"/>
          <ac:spMkLst>
            <pc:docMk/>
            <pc:sldMk cId="4110371661" sldId="275"/>
            <ac:spMk id="9" creationId="{00000000-0000-0000-0000-000000000000}"/>
          </ac:spMkLst>
        </pc:spChg>
        <pc:graphicFrameChg chg="add del mod">
          <ac:chgData name="Michaelsen, Børje" userId="c36523e3-11ed-4011-9a41-1983019c0634" providerId="ADAL" clId="{E6A33FFF-2505-483E-9155-3932C1EC5308}" dt="2023-08-29T06:03:09.465" v="149" actId="478"/>
          <ac:graphicFrameMkLst>
            <pc:docMk/>
            <pc:sldMk cId="4110371661" sldId="275"/>
            <ac:graphicFrameMk id="4" creationId="{A9AB4960-5BA5-6AF9-F3ED-65DFE4591263}"/>
          </ac:graphicFrameMkLst>
        </pc:graphicFrameChg>
        <pc:graphicFrameChg chg="add mod">
          <ac:chgData name="Michaelsen, Børje" userId="c36523e3-11ed-4011-9a41-1983019c0634" providerId="ADAL" clId="{E6A33FFF-2505-483E-9155-3932C1EC5308}" dt="2023-09-15T08:18:17.379" v="893" actId="962"/>
          <ac:graphicFrameMkLst>
            <pc:docMk/>
            <pc:sldMk cId="4110371661" sldId="275"/>
            <ac:graphicFrameMk id="5" creationId="{A9AB4960-5BA5-6AF9-F3ED-65DFE4591263}"/>
          </ac:graphicFrameMkLst>
        </pc:graphicFrameChg>
        <pc:graphicFrameChg chg="del">
          <ac:chgData name="Michaelsen, Børje" userId="c36523e3-11ed-4011-9a41-1983019c0634" providerId="ADAL" clId="{E6A33FFF-2505-483E-9155-3932C1EC5308}" dt="2023-08-29T06:02:03.661" v="116" actId="478"/>
          <ac:graphicFrameMkLst>
            <pc:docMk/>
            <pc:sldMk cId="4110371661" sldId="275"/>
            <ac:graphicFrameMk id="6" creationId="{00000000-0000-0000-0000-000000000000}"/>
          </ac:graphicFrameMkLst>
        </pc:graphicFrameChg>
      </pc:sldChg>
      <pc:sldChg chg="addSp delSp modSp mod">
        <pc:chgData name="Michaelsen, Børje" userId="c36523e3-11ed-4011-9a41-1983019c0634" providerId="ADAL" clId="{E6A33FFF-2505-483E-9155-3932C1EC5308}" dt="2023-09-15T08:27:54.537" v="1127"/>
        <pc:sldMkLst>
          <pc:docMk/>
          <pc:sldMk cId="768537486" sldId="276"/>
        </pc:sldMkLst>
        <pc:spChg chg="ord">
          <ac:chgData name="Michaelsen, Børje" userId="c36523e3-11ed-4011-9a41-1983019c0634" providerId="ADAL" clId="{E6A33FFF-2505-483E-9155-3932C1EC5308}" dt="2023-09-15T08:27:51.785" v="1126"/>
          <ac:spMkLst>
            <pc:docMk/>
            <pc:sldMk cId="768537486" sldId="276"/>
            <ac:spMk id="2" creationId="{00000000-0000-0000-0000-000000000000}"/>
          </ac:spMkLst>
        </pc:spChg>
        <pc:spChg chg="add mod">
          <ac:chgData name="Michaelsen, Børje" userId="c36523e3-11ed-4011-9a41-1983019c0634" providerId="ADAL" clId="{E6A33FFF-2505-483E-9155-3932C1EC5308}" dt="2023-08-28T08:55:51.285" v="104"/>
          <ac:spMkLst>
            <pc:docMk/>
            <pc:sldMk cId="768537486" sldId="276"/>
            <ac:spMk id="5" creationId="{1259BCDE-C1A8-3652-C344-859271CDD0C8}"/>
          </ac:spMkLst>
        </pc:spChg>
        <pc:spChg chg="del">
          <ac:chgData name="Michaelsen, Børje" userId="c36523e3-11ed-4011-9a41-1983019c0634" providerId="ADAL" clId="{E6A33FFF-2505-483E-9155-3932C1EC5308}" dt="2023-08-28T08:55:44.594" v="103" actId="478"/>
          <ac:spMkLst>
            <pc:docMk/>
            <pc:sldMk cId="768537486" sldId="276"/>
            <ac:spMk id="7" creationId="{00000000-0000-0000-0000-000000000000}"/>
          </ac:spMkLst>
        </pc:spChg>
        <pc:spChg chg="mod ord">
          <ac:chgData name="Michaelsen, Børje" userId="c36523e3-11ed-4011-9a41-1983019c0634" providerId="ADAL" clId="{E6A33FFF-2505-483E-9155-3932C1EC5308}" dt="2023-09-15T08:27:54.537" v="1127"/>
          <ac:spMkLst>
            <pc:docMk/>
            <pc:sldMk cId="768537486" sldId="276"/>
            <ac:spMk id="9" creationId="{00000000-0000-0000-0000-000000000000}"/>
          </ac:spMkLst>
        </pc:spChg>
        <pc:graphicFrameChg chg="mod modGraphic">
          <ac:chgData name="Michaelsen, Børje" userId="c36523e3-11ed-4011-9a41-1983019c0634" providerId="ADAL" clId="{E6A33FFF-2505-483E-9155-3932C1EC5308}" dt="2023-09-15T08:23:48.512" v="1053" actId="12385"/>
          <ac:graphicFrameMkLst>
            <pc:docMk/>
            <pc:sldMk cId="768537486" sldId="276"/>
            <ac:graphicFrameMk id="8" creationId="{00000000-0000-0000-0000-000000000000}"/>
          </ac:graphicFrameMkLst>
        </pc:graphicFrameChg>
        <pc:picChg chg="add mod">
          <ac:chgData name="Michaelsen, Børje" userId="c36523e3-11ed-4011-9a41-1983019c0634" providerId="ADAL" clId="{E6A33FFF-2505-483E-9155-3932C1EC5308}" dt="2023-09-15T08:17:59.763" v="891" actId="962"/>
          <ac:picMkLst>
            <pc:docMk/>
            <pc:sldMk cId="768537486" sldId="276"/>
            <ac:picMk id="3" creationId="{B8E6DEDC-974D-81F9-72CC-E0F68FEFD9A5}"/>
          </ac:picMkLst>
        </pc:picChg>
        <pc:picChg chg="del">
          <ac:chgData name="Michaelsen, Børje" userId="c36523e3-11ed-4011-9a41-1983019c0634" providerId="ADAL" clId="{E6A33FFF-2505-483E-9155-3932C1EC5308}" dt="2023-08-28T08:55:23.616" v="99" actId="478"/>
          <ac:picMkLst>
            <pc:docMk/>
            <pc:sldMk cId="768537486" sldId="276"/>
            <ac:picMk id="4" creationId="{00000000-0000-0000-0000-000000000000}"/>
          </ac:picMkLst>
        </pc:picChg>
      </pc:sldChg>
      <pc:sldChg chg="addSp delSp modSp mod">
        <pc:chgData name="Michaelsen, Børje" userId="c36523e3-11ed-4011-9a41-1983019c0634" providerId="ADAL" clId="{E6A33FFF-2505-483E-9155-3932C1EC5308}" dt="2023-09-15T08:28:17.889" v="1130"/>
        <pc:sldMkLst>
          <pc:docMk/>
          <pc:sldMk cId="2721633966" sldId="277"/>
        </pc:sldMkLst>
        <pc:spChg chg="mod">
          <ac:chgData name="Michaelsen, Børje" userId="c36523e3-11ed-4011-9a41-1983019c0634" providerId="ADAL" clId="{E6A33FFF-2505-483E-9155-3932C1EC5308}" dt="2023-09-15T08:28:10.320" v="1129" actId="1076"/>
          <ac:spMkLst>
            <pc:docMk/>
            <pc:sldMk cId="2721633966" sldId="277"/>
            <ac:spMk id="2" creationId="{00000000-0000-0000-0000-000000000000}"/>
          </ac:spMkLst>
        </pc:spChg>
        <pc:spChg chg="add mod">
          <ac:chgData name="Michaelsen, Børje" userId="c36523e3-11ed-4011-9a41-1983019c0634" providerId="ADAL" clId="{E6A33FFF-2505-483E-9155-3932C1EC5308}" dt="2023-09-01T12:40:47.341" v="421"/>
          <ac:spMkLst>
            <pc:docMk/>
            <pc:sldMk cId="2721633966" sldId="277"/>
            <ac:spMk id="4" creationId="{AE078CED-F5E9-7D89-CAC1-210A292ABEFC}"/>
          </ac:spMkLst>
        </pc:spChg>
        <pc:spChg chg="del">
          <ac:chgData name="Michaelsen, Børje" userId="c36523e3-11ed-4011-9a41-1983019c0634" providerId="ADAL" clId="{E6A33FFF-2505-483E-9155-3932C1EC5308}" dt="2023-09-01T12:40:45.600" v="420" actId="478"/>
          <ac:spMkLst>
            <pc:docMk/>
            <pc:sldMk cId="2721633966" sldId="277"/>
            <ac:spMk id="9" creationId="{00000000-0000-0000-0000-000000000000}"/>
          </ac:spMkLst>
        </pc:spChg>
        <pc:graphicFrameChg chg="add mod">
          <ac:chgData name="Michaelsen, Børje" userId="c36523e3-11ed-4011-9a41-1983019c0634" providerId="ADAL" clId="{E6A33FFF-2505-483E-9155-3932C1EC5308}" dt="2023-09-15T08:28:17.889" v="1130"/>
          <ac:graphicFrameMkLst>
            <pc:docMk/>
            <pc:sldMk cId="2721633966" sldId="277"/>
            <ac:graphicFrameMk id="5" creationId="{1E871170-F82D-1EDA-BE6F-558892AFB706}"/>
          </ac:graphicFrameMkLst>
        </pc:graphicFrameChg>
        <pc:graphicFrameChg chg="del">
          <ac:chgData name="Michaelsen, Børje" userId="c36523e3-11ed-4011-9a41-1983019c0634" providerId="ADAL" clId="{E6A33FFF-2505-483E-9155-3932C1EC5308}" dt="2023-09-01T12:45:39.275" v="422" actId="478"/>
          <ac:graphicFrameMkLst>
            <pc:docMk/>
            <pc:sldMk cId="2721633966" sldId="277"/>
            <ac:graphicFrameMk id="6" creationId="{00000000-0000-0000-0000-000000000000}"/>
          </ac:graphicFrameMkLst>
        </pc:graphicFrameChg>
      </pc:sldChg>
      <pc:sldChg chg="del">
        <pc:chgData name="Michaelsen, Børje" userId="c36523e3-11ed-4011-9a41-1983019c0634" providerId="ADAL" clId="{E6A33FFF-2505-483E-9155-3932C1EC5308}" dt="2023-08-29T13:36:16.295" v="249" actId="47"/>
        <pc:sldMkLst>
          <pc:docMk/>
          <pc:sldMk cId="1321071006" sldId="278"/>
        </pc:sldMkLst>
      </pc:sldChg>
      <pc:sldChg chg="addSp delSp modSp mod">
        <pc:chgData name="Michaelsen, Børje" userId="c36523e3-11ed-4011-9a41-1983019c0634" providerId="ADAL" clId="{E6A33FFF-2505-483E-9155-3932C1EC5308}" dt="2023-09-29T12:50:53.577" v="1698"/>
        <pc:sldMkLst>
          <pc:docMk/>
          <pc:sldMk cId="662108869" sldId="279"/>
        </pc:sldMkLst>
        <pc:spChg chg="mod">
          <ac:chgData name="Michaelsen, Børje" userId="c36523e3-11ed-4011-9a41-1983019c0634" providerId="ADAL" clId="{E6A33FFF-2505-483E-9155-3932C1EC5308}" dt="2023-09-13T09:39:00.273" v="688" actId="20577"/>
          <ac:spMkLst>
            <pc:docMk/>
            <pc:sldMk cId="662108869" sldId="279"/>
            <ac:spMk id="2" creationId="{00000000-0000-0000-0000-000000000000}"/>
          </ac:spMkLst>
        </pc:spChg>
        <pc:spChg chg="add mod">
          <ac:chgData name="Michaelsen, Børje" userId="c36523e3-11ed-4011-9a41-1983019c0634" providerId="ADAL" clId="{E6A33FFF-2505-483E-9155-3932C1EC5308}" dt="2023-09-29T12:50:53.577" v="1698"/>
          <ac:spMkLst>
            <pc:docMk/>
            <pc:sldMk cId="662108869" sldId="279"/>
            <ac:spMk id="5" creationId="{9D656F81-52DD-2020-66A0-505318DBCB67}"/>
          </ac:spMkLst>
        </pc:spChg>
        <pc:spChg chg="mod">
          <ac:chgData name="Michaelsen, Børje" userId="c36523e3-11ed-4011-9a41-1983019c0634" providerId="ADAL" clId="{E6A33FFF-2505-483E-9155-3932C1EC5308}" dt="2023-09-26T12:02:05.247" v="1695" actId="207"/>
          <ac:spMkLst>
            <pc:docMk/>
            <pc:sldMk cId="662108869" sldId="279"/>
            <ac:spMk id="10" creationId="{00000000-0000-0000-0000-000000000000}"/>
          </ac:spMkLst>
        </pc:spChg>
        <pc:graphicFrameChg chg="add mod ord">
          <ac:chgData name="Michaelsen, Børje" userId="c36523e3-11ed-4011-9a41-1983019c0634" providerId="ADAL" clId="{E6A33FFF-2505-483E-9155-3932C1EC5308}" dt="2023-09-15T08:26:48.450" v="1117"/>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E6A33FFF-2505-483E-9155-3932C1EC5308}" dt="2023-09-15T08:26:54.081" v="1118"/>
          <ac:graphicFrameMkLst>
            <pc:docMk/>
            <pc:sldMk cId="662108869" sldId="279"/>
            <ac:graphicFrameMk id="4" creationId="{24E4A504-A222-3225-2904-7772932E33DE}"/>
          </ac:graphicFrameMkLst>
        </pc:graphicFrameChg>
        <pc:graphicFrameChg chg="del">
          <ac:chgData name="Michaelsen, Børje" userId="c36523e3-11ed-4011-9a41-1983019c0634" providerId="ADAL" clId="{E6A33FFF-2505-483E-9155-3932C1EC5308}" dt="2023-09-13T09:38:29.164" v="655" actId="478"/>
          <ac:graphicFrameMkLst>
            <pc:docMk/>
            <pc:sldMk cId="662108869" sldId="279"/>
            <ac:graphicFrameMk id="6" creationId="{00000000-0008-0000-0600-000005000000}"/>
          </ac:graphicFrameMkLst>
        </pc:graphicFrameChg>
        <pc:graphicFrameChg chg="del">
          <ac:chgData name="Michaelsen, Børje" userId="c36523e3-11ed-4011-9a41-1983019c0634" providerId="ADAL" clId="{E6A33FFF-2505-483E-9155-3932C1EC5308}" dt="2023-09-13T09:41:17.559" v="690" actId="478"/>
          <ac:graphicFrameMkLst>
            <pc:docMk/>
            <pc:sldMk cId="662108869" sldId="279"/>
            <ac:graphicFrameMk id="8" creationId="{00000000-0008-0000-0300-000002000000}"/>
          </ac:graphicFrameMkLst>
        </pc:graphicFrameChg>
      </pc:sldChg>
      <pc:sldChg chg="addSp delSp modSp mod">
        <pc:chgData name="Michaelsen, Børje" userId="c36523e3-11ed-4011-9a41-1983019c0634" providerId="ADAL" clId="{E6A33FFF-2505-483E-9155-3932C1EC5308}" dt="2023-09-15T08:16:17.128" v="881" actId="962"/>
        <pc:sldMkLst>
          <pc:docMk/>
          <pc:sldMk cId="835482435" sldId="282"/>
        </pc:sldMkLst>
        <pc:spChg chg="mod">
          <ac:chgData name="Michaelsen, Børje" userId="c36523e3-11ed-4011-9a41-1983019c0634" providerId="ADAL" clId="{E6A33FFF-2505-483E-9155-3932C1EC5308}" dt="2023-09-07T12:01:49.878" v="513" actId="14100"/>
          <ac:spMkLst>
            <pc:docMk/>
            <pc:sldMk cId="835482435" sldId="282"/>
            <ac:spMk id="3" creationId="{00000000-0000-0000-0000-000000000000}"/>
          </ac:spMkLst>
        </pc:spChg>
        <pc:spChg chg="add mod">
          <ac:chgData name="Michaelsen, Børje" userId="c36523e3-11ed-4011-9a41-1983019c0634" providerId="ADAL" clId="{E6A33FFF-2505-483E-9155-3932C1EC5308}" dt="2023-09-07T12:01:59.579" v="529" actId="1036"/>
          <ac:spMkLst>
            <pc:docMk/>
            <pc:sldMk cId="835482435" sldId="282"/>
            <ac:spMk id="6" creationId="{119660C1-6720-75C5-313A-BBB93FB78FE2}"/>
          </ac:spMkLst>
        </pc:spChg>
        <pc:graphicFrameChg chg="add mod">
          <ac:chgData name="Michaelsen, Børje" userId="c36523e3-11ed-4011-9a41-1983019c0634" providerId="ADAL" clId="{E6A33FFF-2505-483E-9155-3932C1EC5308}" dt="2023-09-15T08:16:17.128" v="881"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E6A33FFF-2505-483E-9155-3932C1EC5308}" dt="2023-09-07T12:00:41.895" v="427" actId="478"/>
          <ac:graphicFrameMkLst>
            <pc:docMk/>
            <pc:sldMk cId="835482435" sldId="282"/>
            <ac:graphicFrameMk id="5" creationId="{00000000-0000-0000-0000-000000000000}"/>
          </ac:graphicFrameMkLst>
        </pc:graphicFrameChg>
      </pc:sldChg>
      <pc:sldChg chg="addSp delSp modSp mod modNotesTx">
        <pc:chgData name="Michaelsen, Børje" userId="c36523e3-11ed-4011-9a41-1983019c0634" providerId="ADAL" clId="{E6A33FFF-2505-483E-9155-3932C1EC5308}" dt="2023-09-29T12:50:40.186" v="1697"/>
        <pc:sldMkLst>
          <pc:docMk/>
          <pc:sldMk cId="1751997248" sldId="284"/>
        </pc:sldMkLst>
        <pc:spChg chg="ord">
          <ac:chgData name="Michaelsen, Børje" userId="c36523e3-11ed-4011-9a41-1983019c0634" providerId="ADAL" clId="{E6A33FFF-2505-483E-9155-3932C1EC5308}" dt="2023-09-15T08:26:11.706" v="1088"/>
          <ac:spMkLst>
            <pc:docMk/>
            <pc:sldMk cId="1751997248" sldId="284"/>
            <ac:spMk id="2" creationId="{00000000-0000-0000-0000-000000000000}"/>
          </ac:spMkLst>
        </pc:spChg>
        <pc:spChg chg="mod ord">
          <ac:chgData name="Michaelsen, Børje" userId="c36523e3-11ed-4011-9a41-1983019c0634" providerId="ADAL" clId="{E6A33FFF-2505-483E-9155-3932C1EC5308}" dt="2023-09-15T08:26:14.089" v="1089"/>
          <ac:spMkLst>
            <pc:docMk/>
            <pc:sldMk cId="1751997248" sldId="284"/>
            <ac:spMk id="3" creationId="{00000000-0000-0000-0000-000000000000}"/>
          </ac:spMkLst>
        </pc:spChg>
        <pc:spChg chg="add mod">
          <ac:chgData name="Michaelsen, Børje" userId="c36523e3-11ed-4011-9a41-1983019c0634" providerId="ADAL" clId="{E6A33FFF-2505-483E-9155-3932C1EC5308}" dt="2023-09-29T12:50:40.186" v="1697"/>
          <ac:spMkLst>
            <pc:docMk/>
            <pc:sldMk cId="1751997248" sldId="284"/>
            <ac:spMk id="6" creationId="{2B848CFA-6AE5-2E6E-CF21-DC7FB621BE06}"/>
          </ac:spMkLst>
        </pc:spChg>
        <pc:spChg chg="mod ord">
          <ac:chgData name="Michaelsen, Børje" userId="c36523e3-11ed-4011-9a41-1983019c0634" providerId="ADAL" clId="{E6A33FFF-2505-483E-9155-3932C1EC5308}" dt="2023-09-15T08:26:26.584" v="1115"/>
          <ac:spMkLst>
            <pc:docMk/>
            <pc:sldMk cId="1751997248" sldId="284"/>
            <ac:spMk id="29" creationId="{00000000-0000-0000-0000-000000000000}"/>
          </ac:spMkLst>
        </pc:spChg>
        <pc:grpChg chg="mod">
          <ac:chgData name="Michaelsen, Børje" userId="c36523e3-11ed-4011-9a41-1983019c0634" providerId="ADAL" clId="{E6A33FFF-2505-483E-9155-3932C1EC5308}" dt="2023-09-15T08:14:03.868" v="785" actId="962"/>
          <ac:grpSpMkLst>
            <pc:docMk/>
            <pc:sldMk cId="1751997248" sldId="284"/>
            <ac:grpSpMk id="31" creationId="{00000000-0000-0000-0000-000000000000}"/>
          </ac:grpSpMkLst>
        </pc:grpChg>
        <pc:picChg chg="add mod ord">
          <ac:chgData name="Michaelsen, Børje" userId="c36523e3-11ed-4011-9a41-1983019c0634" providerId="ADAL" clId="{E6A33FFF-2505-483E-9155-3932C1EC5308}" dt="2023-09-15T08:26:19.832" v="1102"/>
          <ac:picMkLst>
            <pc:docMk/>
            <pc:sldMk cId="1751997248" sldId="284"/>
            <ac:picMk id="40" creationId="{C94BB9D9-353B-93F7-B7F8-D9C88EDEDD68}"/>
          </ac:picMkLst>
        </pc:picChg>
        <pc:picChg chg="del">
          <ac:chgData name="Michaelsen, Børje" userId="c36523e3-11ed-4011-9a41-1983019c0634" providerId="ADAL" clId="{E6A33FFF-2505-483E-9155-3932C1EC5308}" dt="2023-09-01T08:17:07.266" v="397" actId="478"/>
          <ac:picMkLst>
            <pc:docMk/>
            <pc:sldMk cId="1751997248" sldId="284"/>
            <ac:picMk id="2049" creationId="{00000000-0000-0000-0000-000000000000}"/>
          </ac:picMkLst>
        </pc:picChg>
        <pc:picChg chg="mod">
          <ac:chgData name="Michaelsen, Børje" userId="c36523e3-11ed-4011-9a41-1983019c0634" providerId="ADAL" clId="{E6A33FFF-2505-483E-9155-3932C1EC5308}" dt="2023-09-15T08:12:11.571" v="784" actId="962"/>
          <ac:picMkLst>
            <pc:docMk/>
            <pc:sldMk cId="1751997248" sldId="284"/>
            <ac:picMk id="2050" creationId="{00000000-0000-0000-0000-000000000000}"/>
          </ac:picMkLst>
        </pc:picChg>
      </pc:sldChg>
      <pc:sldChg chg="modSp del mod">
        <pc:chgData name="Michaelsen, Børje" userId="c36523e3-11ed-4011-9a41-1983019c0634" providerId="ADAL" clId="{E6A33FFF-2505-483E-9155-3932C1EC5308}" dt="2023-10-10T08:40:24.911" v="1706" actId="47"/>
        <pc:sldMkLst>
          <pc:docMk/>
          <pc:sldMk cId="1610994730" sldId="285"/>
        </pc:sldMkLst>
        <pc:spChg chg="ord">
          <ac:chgData name="Michaelsen, Børje" userId="c36523e3-11ed-4011-9a41-1983019c0634" providerId="ADAL" clId="{E6A33FFF-2505-483E-9155-3932C1EC5308}" dt="2023-09-15T08:29:56.161" v="1157"/>
          <ac:spMkLst>
            <pc:docMk/>
            <pc:sldMk cId="1610994730" sldId="285"/>
            <ac:spMk id="7" creationId="{00000000-0000-0000-0000-000000000000}"/>
          </ac:spMkLst>
        </pc:spChg>
        <pc:graphicFrameChg chg="mod">
          <ac:chgData name="Michaelsen, Børje" userId="c36523e3-11ed-4011-9a41-1983019c0634" providerId="ADAL" clId="{E6A33FFF-2505-483E-9155-3932C1EC5308}" dt="2023-09-15T08:29:52.624" v="1156"/>
          <ac:graphicFrameMkLst>
            <pc:docMk/>
            <pc:sldMk cId="1610994730" sldId="285"/>
            <ac:graphicFrameMk id="14" creationId="{00000000-0008-0000-0200-000002000000}"/>
          </ac:graphicFrameMkLst>
        </pc:graphicFrameChg>
        <pc:picChg chg="mod ord">
          <ac:chgData name="Michaelsen, Børje" userId="c36523e3-11ed-4011-9a41-1983019c0634" providerId="ADAL" clId="{E6A33FFF-2505-483E-9155-3932C1EC5308}" dt="2023-09-15T08:30:03.057" v="1160"/>
          <ac:picMkLst>
            <pc:docMk/>
            <pc:sldMk cId="1610994730" sldId="285"/>
            <ac:picMk id="4" creationId="{00000000-0000-0000-0000-000000000000}"/>
          </ac:picMkLst>
        </pc:picChg>
        <pc:picChg chg="mod ord">
          <ac:chgData name="Michaelsen, Børje" userId="c36523e3-11ed-4011-9a41-1983019c0634" providerId="ADAL" clId="{E6A33FFF-2505-483E-9155-3932C1EC5308}" dt="2023-09-15T08:29:59.536" v="1159"/>
          <ac:picMkLst>
            <pc:docMk/>
            <pc:sldMk cId="1610994730" sldId="285"/>
            <ac:picMk id="12" creationId="{00000000-0000-0000-0000-000000000000}"/>
          </ac:picMkLst>
        </pc:picChg>
      </pc:sldChg>
      <pc:sldChg chg="addSp delSp modSp mod">
        <pc:chgData name="Michaelsen, Børje" userId="c36523e3-11ed-4011-9a41-1983019c0634" providerId="ADAL" clId="{E6A33FFF-2505-483E-9155-3932C1EC5308}" dt="2023-09-22T06:45:36.398" v="1328"/>
        <pc:sldMkLst>
          <pc:docMk/>
          <pc:sldMk cId="2154520298" sldId="287"/>
        </pc:sldMkLst>
        <pc:spChg chg="mod">
          <ac:chgData name="Michaelsen, Børje" userId="c36523e3-11ed-4011-9a41-1983019c0634" providerId="ADAL" clId="{E6A33FFF-2505-483E-9155-3932C1EC5308}" dt="2023-09-22T06:44:33.019" v="1326" actId="14100"/>
          <ac:spMkLst>
            <pc:docMk/>
            <pc:sldMk cId="2154520298" sldId="287"/>
            <ac:spMk id="10" creationId="{00000000-0000-0000-0000-000000000000}"/>
          </ac:spMkLst>
        </pc:spChg>
        <pc:picChg chg="del">
          <ac:chgData name="Michaelsen, Børje" userId="c36523e3-11ed-4011-9a41-1983019c0634" providerId="ADAL" clId="{E6A33FFF-2505-483E-9155-3932C1EC5308}" dt="2023-09-22T06:41:58.200" v="1246" actId="478"/>
          <ac:picMkLst>
            <pc:docMk/>
            <pc:sldMk cId="2154520298" sldId="287"/>
            <ac:picMk id="4" creationId="{0BAFA7FA-889B-C04A-0AC7-74432ADF39FB}"/>
          </ac:picMkLst>
        </pc:picChg>
        <pc:picChg chg="add del mod">
          <ac:chgData name="Michaelsen, Børje" userId="c36523e3-11ed-4011-9a41-1983019c0634" providerId="ADAL" clId="{E6A33FFF-2505-483E-9155-3932C1EC5308}" dt="2023-09-22T06:42:18.063" v="1249" actId="478"/>
          <ac:picMkLst>
            <pc:docMk/>
            <pc:sldMk cId="2154520298" sldId="287"/>
            <ac:picMk id="5" creationId="{52AE706B-81C2-A9F8-430C-1CA663DB40CA}"/>
          </ac:picMkLst>
        </pc:picChg>
        <pc:picChg chg="add mod ord">
          <ac:chgData name="Michaelsen, Børje" userId="c36523e3-11ed-4011-9a41-1983019c0634" providerId="ADAL" clId="{E6A33FFF-2505-483E-9155-3932C1EC5308}" dt="2023-09-22T06:45:36.398" v="1328"/>
          <ac:picMkLst>
            <pc:docMk/>
            <pc:sldMk cId="2154520298" sldId="287"/>
            <ac:picMk id="7" creationId="{D4B57540-F80C-A695-5212-E43CBD00800E}"/>
          </ac:picMkLst>
        </pc:picChg>
      </pc:sldChg>
      <pc:sldChg chg="addSp delSp modSp mod">
        <pc:chgData name="Michaelsen, Børje" userId="c36523e3-11ed-4011-9a41-1983019c0634" providerId="ADAL" clId="{E6A33FFF-2505-483E-9155-3932C1EC5308}" dt="2023-09-15T08:25:50.080" v="1087"/>
        <pc:sldMkLst>
          <pc:docMk/>
          <pc:sldMk cId="2938880870" sldId="288"/>
        </pc:sldMkLst>
        <pc:spChg chg="mod">
          <ac:chgData name="Michaelsen, Børje" userId="c36523e3-11ed-4011-9a41-1983019c0634" providerId="ADAL" clId="{E6A33FFF-2505-483E-9155-3932C1EC5308}" dt="2023-09-15T08:25:13.824" v="1068" actId="14100"/>
          <ac:spMkLst>
            <pc:docMk/>
            <pc:sldMk cId="2938880870" sldId="288"/>
            <ac:spMk id="2" creationId="{00000000-0000-0000-0000-000000000000}"/>
          </ac:spMkLst>
        </pc:spChg>
        <pc:spChg chg="add mod">
          <ac:chgData name="Michaelsen, Børje" userId="c36523e3-11ed-4011-9a41-1983019c0634" providerId="ADAL" clId="{E6A33FFF-2505-483E-9155-3932C1EC5308}" dt="2023-09-08T10:33:15.872" v="570" actId="1038"/>
          <ac:spMkLst>
            <pc:docMk/>
            <pc:sldMk cId="2938880870" sldId="288"/>
            <ac:spMk id="5" creationId="{72C38B41-131A-AFC1-9683-784948204578}"/>
          </ac:spMkLst>
        </pc:spChg>
        <pc:spChg chg="add mod ord">
          <ac:chgData name="Michaelsen, Børje" userId="c36523e3-11ed-4011-9a41-1983019c0634" providerId="ADAL" clId="{E6A33FFF-2505-483E-9155-3932C1EC5308}" dt="2023-09-15T08:25:50.080" v="1087"/>
          <ac:spMkLst>
            <pc:docMk/>
            <pc:sldMk cId="2938880870" sldId="288"/>
            <ac:spMk id="6" creationId="{CE5207F9-4FA9-E328-167B-6EB1EF6311FA}"/>
          </ac:spMkLst>
        </pc:spChg>
        <pc:spChg chg="mod">
          <ac:chgData name="Michaelsen, Børje" userId="c36523e3-11ed-4011-9a41-1983019c0634" providerId="ADAL" clId="{E6A33FFF-2505-483E-9155-3932C1EC5308}" dt="2023-09-08T10:31:45.705" v="540" actId="20577"/>
          <ac:spMkLst>
            <pc:docMk/>
            <pc:sldMk cId="2938880870" sldId="288"/>
            <ac:spMk id="7" creationId="{00000000-0000-0000-0000-000000000000}"/>
          </ac:spMkLst>
        </pc:spChg>
        <pc:spChg chg="mod">
          <ac:chgData name="Michaelsen, Børje" userId="c36523e3-11ed-4011-9a41-1983019c0634" providerId="ADAL" clId="{E6A33FFF-2505-483E-9155-3932C1EC5308}" dt="2023-09-08T10:32:24.794" v="542" actId="20577"/>
          <ac:spMkLst>
            <pc:docMk/>
            <pc:sldMk cId="2938880870" sldId="288"/>
            <ac:spMk id="18" creationId="{00000000-0000-0000-0000-000000000000}"/>
          </ac:spMkLst>
        </pc:spChg>
        <pc:graphicFrameChg chg="add mod">
          <ac:chgData name="Michaelsen, Børje" userId="c36523e3-11ed-4011-9a41-1983019c0634" providerId="ADAL" clId="{E6A33FFF-2505-483E-9155-3932C1EC5308}" dt="2023-09-15T08:25:46.464" v="1084"/>
          <ac:graphicFrameMkLst>
            <pc:docMk/>
            <pc:sldMk cId="2938880870" sldId="288"/>
            <ac:graphicFrameMk id="3" creationId="{00000000-0008-0000-0100-000002000000}"/>
          </ac:graphicFrameMkLst>
        </pc:graphicFrameChg>
        <pc:graphicFrameChg chg="add mod">
          <ac:chgData name="Michaelsen, Børje" userId="c36523e3-11ed-4011-9a41-1983019c0634" providerId="ADAL" clId="{E6A33FFF-2505-483E-9155-3932C1EC5308}" dt="2023-09-15T08:11:12.787" v="776" actId="962"/>
          <ac:graphicFrameMkLst>
            <pc:docMk/>
            <pc:sldMk cId="2938880870" sldId="288"/>
            <ac:graphicFrameMk id="4" creationId="{00000000-0008-0000-0300-000003000000}"/>
          </ac:graphicFrameMkLst>
        </pc:graphicFrameChg>
        <pc:graphicFrameChg chg="del">
          <ac:chgData name="Michaelsen, Børje" userId="c36523e3-11ed-4011-9a41-1983019c0634" providerId="ADAL" clId="{E6A33FFF-2505-483E-9155-3932C1EC5308}" dt="2023-09-08T10:31:11.469" v="531" actId="478"/>
          <ac:graphicFrameMkLst>
            <pc:docMk/>
            <pc:sldMk cId="2938880870" sldId="288"/>
            <ac:graphicFrameMk id="9" creationId="{00000000-0000-0000-0000-000000000000}"/>
          </ac:graphicFrameMkLst>
        </pc:graphicFrameChg>
        <pc:graphicFrameChg chg="del">
          <ac:chgData name="Michaelsen, Børje" userId="c36523e3-11ed-4011-9a41-1983019c0634" providerId="ADAL" clId="{E6A33FFF-2505-483E-9155-3932C1EC5308}" dt="2023-09-08T10:32:40.612" v="543" actId="478"/>
          <ac:graphicFrameMkLst>
            <pc:docMk/>
            <pc:sldMk cId="2938880870" sldId="288"/>
            <ac:graphicFrameMk id="11" creationId="{00000000-0000-0000-0000-000000000000}"/>
          </ac:graphicFrameMkLst>
        </pc:graphicFrameChg>
      </pc:sldChg>
      <pc:sldChg chg="addSp delSp modSp mod">
        <pc:chgData name="Michaelsen, Børje" userId="c36523e3-11ed-4011-9a41-1983019c0634" providerId="ADAL" clId="{E6A33FFF-2505-483E-9155-3932C1EC5308}" dt="2023-09-29T12:51:09.853" v="1699"/>
        <pc:sldMkLst>
          <pc:docMk/>
          <pc:sldMk cId="990372706" sldId="289"/>
        </pc:sldMkLst>
        <pc:spChg chg="add mod">
          <ac:chgData name="Michaelsen, Børje" userId="c36523e3-11ed-4011-9a41-1983019c0634" providerId="ADAL" clId="{E6A33FFF-2505-483E-9155-3932C1EC5308}" dt="2023-09-29T12:51:09.853" v="1699"/>
          <ac:spMkLst>
            <pc:docMk/>
            <pc:sldMk cId="990372706" sldId="289"/>
            <ac:spMk id="7" creationId="{1A564FF0-F000-0644-C9E7-71F241E7A07C}"/>
          </ac:spMkLst>
        </pc:spChg>
        <pc:graphicFrameChg chg="add mod">
          <ac:chgData name="Michaelsen, Børje" userId="c36523e3-11ed-4011-9a41-1983019c0634" providerId="ADAL" clId="{E6A33FFF-2505-483E-9155-3932C1EC5308}" dt="2023-09-15T08:18:59.006" v="923" actId="962"/>
          <ac:graphicFrameMkLst>
            <pc:docMk/>
            <pc:sldMk cId="990372706" sldId="289"/>
            <ac:graphicFrameMk id="4" creationId="{00000000-0008-0000-0000-000002000000}"/>
          </ac:graphicFrameMkLst>
        </pc:graphicFrameChg>
        <pc:graphicFrameChg chg="add mod">
          <ac:chgData name="Michaelsen, Børje" userId="c36523e3-11ed-4011-9a41-1983019c0634" providerId="ADAL" clId="{E6A33FFF-2505-483E-9155-3932C1EC5308}" dt="2023-09-15T08:19:13.252" v="925" actId="962"/>
          <ac:graphicFrameMkLst>
            <pc:docMk/>
            <pc:sldMk cId="990372706" sldId="289"/>
            <ac:graphicFrameMk id="5" creationId="{00000000-0008-0000-0200-000002000000}"/>
          </ac:graphicFrameMkLst>
        </pc:graphicFrameChg>
        <pc:graphicFrameChg chg="add mod">
          <ac:chgData name="Michaelsen, Børje" userId="c36523e3-11ed-4011-9a41-1983019c0634" providerId="ADAL" clId="{E6A33FFF-2505-483E-9155-3932C1EC5308}" dt="2023-09-15T08:28:30.811" v="1132"/>
          <ac:graphicFrameMkLst>
            <pc:docMk/>
            <pc:sldMk cId="990372706" sldId="289"/>
            <ac:graphicFrameMk id="6" creationId="{00000000-0008-0000-0000-000002000000}"/>
          </ac:graphicFrameMkLst>
        </pc:graphicFrameChg>
        <pc:graphicFrameChg chg="del">
          <ac:chgData name="Michaelsen, Børje" userId="c36523e3-11ed-4011-9a41-1983019c0634" providerId="ADAL" clId="{E6A33FFF-2505-483E-9155-3932C1EC5308}" dt="2023-09-11T10:59:50.786" v="592" actId="478"/>
          <ac:graphicFrameMkLst>
            <pc:docMk/>
            <pc:sldMk cId="990372706" sldId="289"/>
            <ac:graphicFrameMk id="7" creationId="{00000000-0000-0000-0000-000000000000}"/>
          </ac:graphicFrameMkLst>
        </pc:graphicFrameChg>
        <pc:graphicFrameChg chg="del">
          <ac:chgData name="Michaelsen, Børje" userId="c36523e3-11ed-4011-9a41-1983019c0634" providerId="ADAL" clId="{E6A33FFF-2505-483E-9155-3932C1EC5308}" dt="2023-09-11T10:39:41.844" v="571" actId="478"/>
          <ac:graphicFrameMkLst>
            <pc:docMk/>
            <pc:sldMk cId="990372706" sldId="289"/>
            <ac:graphicFrameMk id="11" creationId="{00000000-0000-0000-0000-000000000000}"/>
          </ac:graphicFrameMkLst>
        </pc:graphicFrameChg>
        <pc:graphicFrameChg chg="del">
          <ac:chgData name="Michaelsen, Børje" userId="c36523e3-11ed-4011-9a41-1983019c0634" providerId="ADAL" clId="{E6A33FFF-2505-483E-9155-3932C1EC5308}" dt="2023-09-11T10:40:26.940" v="587" actId="478"/>
          <ac:graphicFrameMkLst>
            <pc:docMk/>
            <pc:sldMk cId="990372706" sldId="289"/>
            <ac:graphicFrameMk id="12" creationId="{00000000-0000-0000-0000-000000000000}"/>
          </ac:graphicFrameMkLst>
        </pc:graphicFrameChg>
      </pc:sldChg>
      <pc:sldChg chg="addSp delSp modSp mod modNotesTx">
        <pc:chgData name="Michaelsen, Børje" userId="c36523e3-11ed-4011-9a41-1983019c0634" providerId="ADAL" clId="{E6A33FFF-2505-483E-9155-3932C1EC5308}" dt="2023-09-21T10:16:25.431" v="1180"/>
        <pc:sldMkLst>
          <pc:docMk/>
          <pc:sldMk cId="1557024307" sldId="290"/>
        </pc:sldMkLst>
        <pc:spChg chg="mod">
          <ac:chgData name="Michaelsen, Børje" userId="c36523e3-11ed-4011-9a41-1983019c0634" providerId="ADAL" clId="{E6A33FFF-2505-483E-9155-3932C1EC5308}" dt="2023-09-21T10:16:14.014" v="1179" actId="20577"/>
          <ac:spMkLst>
            <pc:docMk/>
            <pc:sldMk cId="1557024307" sldId="290"/>
            <ac:spMk id="12" creationId="{00000000-0000-0000-0000-000000000000}"/>
          </ac:spMkLst>
        </pc:spChg>
        <pc:graphicFrameChg chg="add mod">
          <ac:chgData name="Michaelsen, Børje" userId="c36523e3-11ed-4011-9a41-1983019c0634" providerId="ADAL" clId="{E6A33FFF-2505-483E-9155-3932C1EC5308}" dt="2023-09-21T10:15:19.262" v="1167"/>
          <ac:graphicFrameMkLst>
            <pc:docMk/>
            <pc:sldMk cId="1557024307" sldId="290"/>
            <ac:graphicFrameMk id="2" creationId="{A2828B79-FC1F-CAD7-0E1E-06FB7EDB49F0}"/>
          </ac:graphicFrameMkLst>
        </pc:graphicFrameChg>
        <pc:graphicFrameChg chg="add mod">
          <ac:chgData name="Michaelsen, Børje" userId="c36523e3-11ed-4011-9a41-1983019c0634" providerId="ADAL" clId="{E6A33FFF-2505-483E-9155-3932C1EC5308}" dt="2023-09-21T10:15:32.219" v="1168"/>
          <ac:graphicFrameMkLst>
            <pc:docMk/>
            <pc:sldMk cId="1557024307" sldId="290"/>
            <ac:graphicFrameMk id="3" creationId="{9542FC25-152B-8DBB-047A-F68C8C823D8F}"/>
          </ac:graphicFrameMkLst>
        </pc:graphicFrameChg>
        <pc:graphicFrameChg chg="del mod">
          <ac:chgData name="Michaelsen, Børje" userId="c36523e3-11ed-4011-9a41-1983019c0634" providerId="ADAL" clId="{E6A33FFF-2505-483E-9155-3932C1EC5308}" dt="2023-09-21T10:14:42.825" v="1163" actId="478"/>
          <ac:graphicFrameMkLst>
            <pc:docMk/>
            <pc:sldMk cId="1557024307" sldId="290"/>
            <ac:graphicFrameMk id="6" creationId="{00000000-0000-0000-0000-000000000000}"/>
          </ac:graphicFrameMkLst>
        </pc:graphicFrameChg>
        <pc:graphicFrameChg chg="del mod">
          <ac:chgData name="Michaelsen, Børje" userId="c36523e3-11ed-4011-9a41-1983019c0634" providerId="ADAL" clId="{E6A33FFF-2505-483E-9155-3932C1EC5308}" dt="2023-09-21T10:14:35.755" v="1161" actId="478"/>
          <ac:graphicFrameMkLst>
            <pc:docMk/>
            <pc:sldMk cId="1557024307" sldId="290"/>
            <ac:graphicFrameMk id="7" creationId="{00000000-0000-0000-0000-000000000000}"/>
          </ac:graphicFrameMkLst>
        </pc:graphicFrameChg>
      </pc:sldChg>
      <pc:sldChg chg="delSp modSp mod modNotesTx">
        <pc:chgData name="Michaelsen, Børje" userId="c36523e3-11ed-4011-9a41-1983019c0634" providerId="ADAL" clId="{E6A33FFF-2505-483E-9155-3932C1EC5308}" dt="2023-09-15T08:29:38.689" v="1152"/>
        <pc:sldMkLst>
          <pc:docMk/>
          <pc:sldMk cId="559240798" sldId="1093"/>
        </pc:sldMkLst>
        <pc:spChg chg="del">
          <ac:chgData name="Michaelsen, Børje" userId="c36523e3-11ed-4011-9a41-1983019c0634" providerId="ADAL" clId="{E6A33FFF-2505-483E-9155-3932C1EC5308}" dt="2023-09-15T08:23:11.953" v="1048" actId="478"/>
          <ac:spMkLst>
            <pc:docMk/>
            <pc:sldMk cId="559240798" sldId="1093"/>
            <ac:spMk id="2" creationId="{A9CA4F69-0A00-457E-97C8-8D999E84DC62}"/>
          </ac:spMkLst>
        </pc:spChg>
        <pc:spChg chg="del">
          <ac:chgData name="Michaelsen, Børje" userId="c36523e3-11ed-4011-9a41-1983019c0634" providerId="ADAL" clId="{E6A33FFF-2505-483E-9155-3932C1EC5308}" dt="2023-09-15T08:29:22.305" v="1146" actId="478"/>
          <ac:spMkLst>
            <pc:docMk/>
            <pc:sldMk cId="559240798" sldId="1093"/>
            <ac:spMk id="3" creationId="{3C75413D-B741-4BCE-8D4A-86EFA4899773}"/>
          </ac:spMkLst>
        </pc:spChg>
        <pc:spChg chg="mod ord">
          <ac:chgData name="Michaelsen, Børje" userId="c36523e3-11ed-4011-9a41-1983019c0634" providerId="ADAL" clId="{E6A33FFF-2505-483E-9155-3932C1EC5308}" dt="2023-09-15T08:29:13.073" v="1142"/>
          <ac:spMkLst>
            <pc:docMk/>
            <pc:sldMk cId="559240798" sldId="1093"/>
            <ac:spMk id="6" creationId="{E6AD9810-77AD-40A7-B695-CF94C0980126}"/>
          </ac:spMkLst>
        </pc:spChg>
        <pc:spChg chg="ord">
          <ac:chgData name="Michaelsen, Børje" userId="c36523e3-11ed-4011-9a41-1983019c0634" providerId="ADAL" clId="{E6A33FFF-2505-483E-9155-3932C1EC5308}" dt="2023-09-15T08:29:34.560" v="1149"/>
          <ac:spMkLst>
            <pc:docMk/>
            <pc:sldMk cId="559240798" sldId="1093"/>
            <ac:spMk id="13" creationId="{0CE86C2E-3F6D-47F7-BCB9-A448CABB2558}"/>
          </ac:spMkLst>
        </pc:spChg>
        <pc:picChg chg="ord">
          <ac:chgData name="Michaelsen, Børje" userId="c36523e3-11ed-4011-9a41-1983019c0634" providerId="ADAL" clId="{E6A33FFF-2505-483E-9155-3932C1EC5308}" dt="2023-09-15T08:29:09.787" v="1141"/>
          <ac:picMkLst>
            <pc:docMk/>
            <pc:sldMk cId="559240798" sldId="1093"/>
            <ac:picMk id="5" creationId="{ED8D46D5-65B2-4C20-A99F-362A277E9657}"/>
          </ac:picMkLst>
        </pc:picChg>
        <pc:picChg chg="mod ord">
          <ac:chgData name="Michaelsen, Børje" userId="c36523e3-11ed-4011-9a41-1983019c0634" providerId="ADAL" clId="{E6A33FFF-2505-483E-9155-3932C1EC5308}" dt="2023-09-15T08:29:17.927" v="1145"/>
          <ac:picMkLst>
            <pc:docMk/>
            <pc:sldMk cId="559240798" sldId="1093"/>
            <ac:picMk id="14" creationId="{EB22ED9D-9831-9FFF-3846-4AF08DB4D4FD}"/>
          </ac:picMkLst>
        </pc:picChg>
        <pc:picChg chg="mod ord">
          <ac:chgData name="Michaelsen, Børje" userId="c36523e3-11ed-4011-9a41-1983019c0634" providerId="ADAL" clId="{E6A33FFF-2505-483E-9155-3932C1EC5308}" dt="2023-09-15T08:29:30.873" v="1147"/>
          <ac:picMkLst>
            <pc:docMk/>
            <pc:sldMk cId="559240798" sldId="1093"/>
            <ac:picMk id="15" creationId="{F8E05E94-D546-4936-0171-28F363AAC3C3}"/>
          </ac:picMkLst>
        </pc:picChg>
        <pc:picChg chg="mod">
          <ac:chgData name="Michaelsen, Børje" userId="c36523e3-11ed-4011-9a41-1983019c0634" providerId="ADAL" clId="{E6A33FFF-2505-483E-9155-3932C1EC5308}" dt="2023-09-15T08:20:59.404" v="963" actId="962"/>
          <ac:picMkLst>
            <pc:docMk/>
            <pc:sldMk cId="559240798" sldId="1093"/>
            <ac:picMk id="16" creationId="{40DFF8E8-EA72-34A8-1FD1-27D796B733EA}"/>
          </ac:picMkLst>
        </pc:picChg>
        <pc:picChg chg="mod ord">
          <ac:chgData name="Michaelsen, Børje" userId="c36523e3-11ed-4011-9a41-1983019c0634" providerId="ADAL" clId="{E6A33FFF-2505-483E-9155-3932C1EC5308}" dt="2023-09-15T08:29:38.689" v="1152"/>
          <ac:picMkLst>
            <pc:docMk/>
            <pc:sldMk cId="559240798" sldId="1093"/>
            <ac:picMk id="17" creationId="{E23712BA-72A5-001B-A2EA-CCF35A8264FF}"/>
          </ac:picMkLst>
        </pc:picChg>
      </pc:sldChg>
      <pc:sldChg chg="addSp delSp modSp add mod">
        <pc:chgData name="Michaelsen, Børje" userId="c36523e3-11ed-4011-9a41-1983019c0634" providerId="ADAL" clId="{E6A33FFF-2505-483E-9155-3932C1EC5308}" dt="2023-09-29T12:52:01.440" v="1704"/>
        <pc:sldMkLst>
          <pc:docMk/>
          <pc:sldMk cId="2611775227" sldId="1095"/>
        </pc:sldMkLst>
        <pc:spChg chg="mod">
          <ac:chgData name="Michaelsen, Børje" userId="c36523e3-11ed-4011-9a41-1983019c0634" providerId="ADAL" clId="{E6A33FFF-2505-483E-9155-3932C1EC5308}" dt="2023-09-29T12:51:52.936" v="1703" actId="14100"/>
          <ac:spMkLst>
            <pc:docMk/>
            <pc:sldMk cId="2611775227" sldId="1095"/>
            <ac:spMk id="2" creationId="{F435C770-84CE-FE99-7F0F-1CBC0D10658C}"/>
          </ac:spMkLst>
        </pc:spChg>
        <pc:spChg chg="add mod">
          <ac:chgData name="Michaelsen, Børje" userId="c36523e3-11ed-4011-9a41-1983019c0634" providerId="ADAL" clId="{E6A33FFF-2505-483E-9155-3932C1EC5308}" dt="2023-09-29T12:52:01.440" v="1704"/>
          <ac:spMkLst>
            <pc:docMk/>
            <pc:sldMk cId="2611775227" sldId="1095"/>
            <ac:spMk id="3" creationId="{DCD36BE4-2642-0790-85B5-10EDD5C92D5D}"/>
          </ac:spMkLst>
        </pc:spChg>
        <pc:spChg chg="mod">
          <ac:chgData name="Michaelsen, Børje" userId="c36523e3-11ed-4011-9a41-1983019c0634" providerId="ADAL" clId="{E6A33FFF-2505-483E-9155-3932C1EC5308}" dt="2023-09-26T07:46:31.046" v="1452" actId="6549"/>
          <ac:spMkLst>
            <pc:docMk/>
            <pc:sldMk cId="2611775227" sldId="1095"/>
            <ac:spMk id="4" creationId="{5E03F8CB-2FC6-6289-5575-EDBBBBB03428}"/>
          </ac:spMkLst>
        </pc:spChg>
        <pc:picChg chg="del">
          <ac:chgData name="Michaelsen, Børje" userId="c36523e3-11ed-4011-9a41-1983019c0634" providerId="ADAL" clId="{E6A33FFF-2505-483E-9155-3932C1EC5308}" dt="2023-09-26T07:44:31.525" v="1390" actId="478"/>
          <ac:picMkLst>
            <pc:docMk/>
            <pc:sldMk cId="2611775227" sldId="1095"/>
            <ac:picMk id="5" creationId="{8FD902E4-DF3C-27ED-02C8-4A3F73E439EC}"/>
          </ac:picMkLst>
        </pc:picChg>
        <pc:picChg chg="add mod">
          <ac:chgData name="Michaelsen, Børje" userId="c36523e3-11ed-4011-9a41-1983019c0634" providerId="ADAL" clId="{E6A33FFF-2505-483E-9155-3932C1EC5308}" dt="2023-09-29T12:51:40.785" v="1702" actId="962"/>
          <ac:picMkLst>
            <pc:docMk/>
            <pc:sldMk cId="2611775227" sldId="1095"/>
            <ac:picMk id="6" creationId="{6236BE43-1BE6-A3D6-387C-5631889937B8}"/>
          </ac:picMkLst>
        </pc:picChg>
      </pc:sldChg>
      <pc:sldChg chg="addSp delSp modSp add mod">
        <pc:chgData name="Michaelsen, Børje" userId="c36523e3-11ed-4011-9a41-1983019c0634" providerId="ADAL" clId="{E6A33FFF-2505-483E-9155-3932C1EC5308}" dt="2023-10-10T08:44:06.853" v="1827" actId="13244"/>
        <pc:sldMkLst>
          <pc:docMk/>
          <pc:sldMk cId="3440108124" sldId="1096"/>
        </pc:sldMkLst>
        <pc:spChg chg="mod">
          <ac:chgData name="Michaelsen, Børje" userId="c36523e3-11ed-4011-9a41-1983019c0634" providerId="ADAL" clId="{E6A33FFF-2505-483E-9155-3932C1EC5308}" dt="2023-10-10T08:40:53.431" v="1729" actId="20577"/>
          <ac:spMkLst>
            <pc:docMk/>
            <pc:sldMk cId="3440108124" sldId="1096"/>
            <ac:spMk id="7" creationId="{00000000-0000-0000-0000-000000000000}"/>
          </ac:spMkLst>
        </pc:spChg>
        <pc:spChg chg="mod">
          <ac:chgData name="Michaelsen, Børje" userId="c36523e3-11ed-4011-9a41-1983019c0634" providerId="ADAL" clId="{E6A33FFF-2505-483E-9155-3932C1EC5308}" dt="2023-10-10T08:43:36.132" v="1824" actId="20577"/>
          <ac:spMkLst>
            <pc:docMk/>
            <pc:sldMk cId="3440108124" sldId="1096"/>
            <ac:spMk id="16" creationId="{01B63842-A613-4DE2-23CF-65894B874DE1}"/>
          </ac:spMkLst>
        </pc:spChg>
        <pc:graphicFrameChg chg="mod">
          <ac:chgData name="Michaelsen, Børje" userId="c36523e3-11ed-4011-9a41-1983019c0634" providerId="ADAL" clId="{E6A33FFF-2505-483E-9155-3932C1EC5308}" dt="2023-10-10T08:41:35.909" v="1733" actId="14100"/>
          <ac:graphicFrameMkLst>
            <pc:docMk/>
            <pc:sldMk cId="3440108124" sldId="1096"/>
            <ac:graphicFrameMk id="12" creationId="{02F3DED4-52B2-ED4A-F002-268A294A1591}"/>
          </ac:graphicFrameMkLst>
        </pc:graphicFrameChg>
        <pc:picChg chg="del">
          <ac:chgData name="Michaelsen, Børje" userId="c36523e3-11ed-4011-9a41-1983019c0634" providerId="ADAL" clId="{E6A33FFF-2505-483E-9155-3932C1EC5308}" dt="2023-10-10T08:41:25.509" v="1730" actId="478"/>
          <ac:picMkLst>
            <pc:docMk/>
            <pc:sldMk cId="3440108124" sldId="1096"/>
            <ac:picMk id="4" creationId="{F6835613-0859-555F-1993-ED905A26FCBC}"/>
          </ac:picMkLst>
        </pc:picChg>
        <pc:picChg chg="add mod ord">
          <ac:chgData name="Michaelsen, Børje" userId="c36523e3-11ed-4011-9a41-1983019c0634" providerId="ADAL" clId="{E6A33FFF-2505-483E-9155-3932C1EC5308}" dt="2023-10-10T08:44:06.853" v="1827" actId="13244"/>
          <ac:picMkLst>
            <pc:docMk/>
            <pc:sldMk cId="3440108124" sldId="1096"/>
            <ac:picMk id="5" creationId="{94CA5AA8-391E-5594-FC27-A8503A8CBBCD}"/>
          </ac:picMkLst>
        </pc:picChg>
      </pc:sldChg>
    </pc:docChg>
  </pc:docChgLst>
  <pc:docChgLst>
    <pc:chgData name="Lindaas, Gunnar Ogwyn" userId="9f116345-df17-4e62-ba90-3f104129b024" providerId="ADAL" clId="{8DC179BE-7BFA-4B82-AC85-E38AD7CD139D}"/>
    <pc:docChg chg="modSld">
      <pc:chgData name="Lindaas, Gunnar Ogwyn" userId="9f116345-df17-4e62-ba90-3f104129b024" providerId="ADAL" clId="{8DC179BE-7BFA-4B82-AC85-E38AD7CD139D}" dt="2023-09-21T12:27:51.933" v="252" actId="20577"/>
      <pc:docMkLst>
        <pc:docMk/>
      </pc:docMkLst>
      <pc:sldChg chg="modSp mod">
        <pc:chgData name="Lindaas, Gunnar Ogwyn" userId="9f116345-df17-4e62-ba90-3f104129b024" providerId="ADAL" clId="{8DC179BE-7BFA-4B82-AC85-E38AD7CD139D}" dt="2023-09-21T12:27:51.933" v="252" actId="20577"/>
        <pc:sldMkLst>
          <pc:docMk/>
          <pc:sldMk cId="2044844844" sldId="273"/>
        </pc:sldMkLst>
        <pc:spChg chg="mod">
          <ac:chgData name="Lindaas, Gunnar Ogwyn" userId="9f116345-df17-4e62-ba90-3f104129b024" providerId="ADAL" clId="{8DC179BE-7BFA-4B82-AC85-E38AD7CD139D}" dt="2023-09-21T12:27:51.933" v="252" actId="20577"/>
          <ac:spMkLst>
            <pc:docMk/>
            <pc:sldMk cId="2044844844" sldId="273"/>
            <ac:spMk id="5" creationId="{00000000-0000-0000-0000-000000000000}"/>
          </ac:spMkLst>
        </pc:spChg>
        <pc:picChg chg="mod">
          <ac:chgData name="Lindaas, Gunnar Ogwyn" userId="9f116345-df17-4e62-ba90-3f104129b024" providerId="ADAL" clId="{8DC179BE-7BFA-4B82-AC85-E38AD7CD139D}" dt="2023-09-21T11:49:51.501" v="1" actId="1076"/>
          <ac:picMkLst>
            <pc:docMk/>
            <pc:sldMk cId="2044844844" sldId="273"/>
            <ac:picMk id="3" creationId="{00000000-0000-0000-0000-000000000000}"/>
          </ac:picMkLst>
        </pc:picChg>
      </pc:sldChg>
    </pc:docChg>
  </pc:docChgLst>
  <pc:docChgLst>
    <pc:chgData name="Lindaas, Gunnar Ogwyn" userId="9f116345-df17-4e62-ba90-3f104129b024" providerId="ADAL" clId="{3D5BBD47-1510-4D32-A6AF-EC91D79EA12F}"/>
    <pc:docChg chg="modSld">
      <pc:chgData name="Lindaas, Gunnar Ogwyn" userId="9f116345-df17-4e62-ba90-3f104129b024" providerId="ADAL" clId="{3D5BBD47-1510-4D32-A6AF-EC91D79EA12F}" dt="2022-08-16T16:34:20.415" v="30" actId="20577"/>
      <pc:docMkLst>
        <pc:docMk/>
      </pc:docMkLst>
      <pc:sldChg chg="modSp mod">
        <pc:chgData name="Lindaas, Gunnar Ogwyn" userId="9f116345-df17-4e62-ba90-3f104129b024" providerId="ADAL" clId="{3D5BBD47-1510-4D32-A6AF-EC91D79EA12F}" dt="2022-08-16T16:34:20.415" v="30" actId="20577"/>
        <pc:sldMkLst>
          <pc:docMk/>
          <pc:sldMk cId="2044844844" sldId="273"/>
        </pc:sldMkLst>
        <pc:spChg chg="mod">
          <ac:chgData name="Lindaas, Gunnar Ogwyn" userId="9f116345-df17-4e62-ba90-3f104129b024" providerId="ADAL" clId="{3D5BBD47-1510-4D32-A6AF-EC91D79EA12F}" dt="2022-08-16T16:34:20.415" v="30" actId="20577"/>
          <ac:spMkLst>
            <pc:docMk/>
            <pc:sldMk cId="2044844844" sldId="273"/>
            <ac:spMk id="5" creationId="{00000000-0000-0000-0000-000000000000}"/>
          </ac:spMkLst>
        </pc:spChg>
        <pc:picChg chg="mod">
          <ac:chgData name="Lindaas, Gunnar Ogwyn" userId="9f116345-df17-4e62-ba90-3f104129b024" providerId="ADAL" clId="{3D5BBD47-1510-4D32-A6AF-EC91D79EA12F}" dt="2022-08-16T16:29:02.412" v="0" actId="14826"/>
          <ac:picMkLst>
            <pc:docMk/>
            <pc:sldMk cId="2044844844" sldId="273"/>
            <ac:picMk id="3" creationId="{00000000-0000-0000-0000-000000000000}"/>
          </ac:picMkLst>
        </pc:pic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Michaelsen, Børje" userId="c36523e3-11ed-4011-9a41-1983019c0634" providerId="ADAL" clId="{C12AB3B8-6D48-42E0-855A-A2D631271CB3}"/>
    <pc:docChg chg="custSel modSld">
      <pc:chgData name="Michaelsen, Børje" userId="c36523e3-11ed-4011-9a41-1983019c0634" providerId="ADAL" clId="{C12AB3B8-6D48-42E0-855A-A2D631271CB3}" dt="2024-12-16T09:49:19.945" v="8"/>
      <pc:docMkLst>
        <pc:docMk/>
      </pc:docMkLst>
      <pc:sldChg chg="addSp delSp modSp mod modNotesTx">
        <pc:chgData name="Michaelsen, Børje" userId="c36523e3-11ed-4011-9a41-1983019c0634" providerId="ADAL" clId="{C12AB3B8-6D48-42E0-855A-A2D631271CB3}" dt="2024-12-16T09:49:19.945" v="8"/>
        <pc:sldMkLst>
          <pc:docMk/>
          <pc:sldMk cId="1557024307" sldId="290"/>
        </pc:sldMkLst>
        <pc:spChg chg="mod">
          <ac:chgData name="Michaelsen, Børje" userId="c36523e3-11ed-4011-9a41-1983019c0634" providerId="ADAL" clId="{C12AB3B8-6D48-42E0-855A-A2D631271CB3}" dt="2024-12-16T09:49:11.152" v="7" actId="20577"/>
          <ac:spMkLst>
            <pc:docMk/>
            <pc:sldMk cId="1557024307" sldId="290"/>
            <ac:spMk id="12" creationId="{00000000-0000-0000-0000-000000000000}"/>
          </ac:spMkLst>
        </pc:spChg>
        <pc:graphicFrameChg chg="add mod">
          <ac:chgData name="Michaelsen, Børje" userId="c36523e3-11ed-4011-9a41-1983019c0634" providerId="ADAL" clId="{C12AB3B8-6D48-42E0-855A-A2D631271CB3}" dt="2024-12-16T09:49:04.731" v="3" actId="1076"/>
          <ac:graphicFrameMkLst>
            <pc:docMk/>
            <pc:sldMk cId="1557024307" sldId="290"/>
            <ac:graphicFrameMk id="2" creationId="{79A0F035-6E3E-5A03-587D-E8262889D0DF}"/>
          </ac:graphicFrameMkLst>
        </pc:graphicFrameChg>
        <pc:graphicFrameChg chg="del">
          <ac:chgData name="Michaelsen, Børje" userId="c36523e3-11ed-4011-9a41-1983019c0634" providerId="ADAL" clId="{C12AB3B8-6D48-42E0-855A-A2D631271CB3}" dt="2024-12-16T09:48:57.528" v="1" actId="478"/>
          <ac:graphicFrameMkLst>
            <pc:docMk/>
            <pc:sldMk cId="1557024307" sldId="290"/>
            <ac:graphicFrameMk id="3" creationId="{9542FC25-152B-8DBB-047A-F68C8C823D8F}"/>
          </ac:graphicFrameMkLst>
        </pc:graphicFrameChg>
      </pc:sldChg>
    </pc:docChg>
  </pc:docChgLst>
  <pc:docChgLst>
    <pc:chgData name="Michaelsen, Børje" userId="c36523e3-11ed-4011-9a41-1983019c0634" providerId="ADAL" clId="{ECAEB5CB-3378-4487-ADA8-63ED5061A995}"/>
    <pc:docChg chg="custSel modSld">
      <pc:chgData name="Michaelsen, Børje" userId="c36523e3-11ed-4011-9a41-1983019c0634" providerId="ADAL" clId="{ECAEB5CB-3378-4487-ADA8-63ED5061A995}" dt="2024-09-20T08:43:06.013" v="39" actId="20577"/>
      <pc:docMkLst>
        <pc:docMk/>
      </pc:docMkLst>
      <pc:sldChg chg="modSp mod">
        <pc:chgData name="Michaelsen, Børje" userId="c36523e3-11ed-4011-9a41-1983019c0634" providerId="ADAL" clId="{ECAEB5CB-3378-4487-ADA8-63ED5061A995}" dt="2024-09-20T08:42:02.217" v="19" actId="13238"/>
        <pc:sldMkLst>
          <pc:docMk/>
          <pc:sldMk cId="3237931907" sldId="263"/>
        </pc:sldMkLst>
        <pc:graphicFrameChg chg="modGraphic">
          <ac:chgData name="Michaelsen, Børje" userId="c36523e3-11ed-4011-9a41-1983019c0634" providerId="ADAL" clId="{ECAEB5CB-3378-4487-ADA8-63ED5061A995}" dt="2024-09-20T08:42:02.217" v="19" actId="13238"/>
          <ac:graphicFrameMkLst>
            <pc:docMk/>
            <pc:sldMk cId="3237931907" sldId="263"/>
            <ac:graphicFrameMk id="8" creationId="{1F04DA60-B7B3-B4E8-515E-A41EE2EA22A3}"/>
          </ac:graphicFrameMkLst>
        </pc:graphicFrameChg>
      </pc:sldChg>
      <pc:sldChg chg="modSp">
        <pc:chgData name="Michaelsen, Børje" userId="c36523e3-11ed-4011-9a41-1983019c0634" providerId="ADAL" clId="{ECAEB5CB-3378-4487-ADA8-63ED5061A995}" dt="2024-09-20T08:42:15.412" v="21" actId="962"/>
        <pc:sldMkLst>
          <pc:docMk/>
          <pc:sldMk cId="1763573476" sldId="269"/>
        </pc:sldMkLst>
        <pc:graphicFrameChg chg="mod">
          <ac:chgData name="Michaelsen, Børje" userId="c36523e3-11ed-4011-9a41-1983019c0634" providerId="ADAL" clId="{ECAEB5CB-3378-4487-ADA8-63ED5061A995}" dt="2024-09-20T08:42:15.412" v="21" actId="962"/>
          <ac:graphicFrameMkLst>
            <pc:docMk/>
            <pc:sldMk cId="1763573476" sldId="269"/>
            <ac:graphicFrameMk id="4" creationId="{22427995-5A5A-15A8-3F06-87414C285E30}"/>
          </ac:graphicFrameMkLst>
        </pc:graphicFrameChg>
      </pc:sldChg>
      <pc:sldChg chg="addSp delSp modSp mod">
        <pc:chgData name="Michaelsen, Børje" userId="c36523e3-11ed-4011-9a41-1983019c0634" providerId="ADAL" clId="{ECAEB5CB-3378-4487-ADA8-63ED5061A995}" dt="2024-09-12T12:54:26.485" v="18" actId="962"/>
        <pc:sldMkLst>
          <pc:docMk/>
          <pc:sldMk cId="340623003" sldId="274"/>
        </pc:sldMkLst>
        <pc:spChg chg="mod">
          <ac:chgData name="Michaelsen, Børje" userId="c36523e3-11ed-4011-9a41-1983019c0634" providerId="ADAL" clId="{ECAEB5CB-3378-4487-ADA8-63ED5061A995}" dt="2024-09-12T12:53:48.385" v="16" actId="20577"/>
          <ac:spMkLst>
            <pc:docMk/>
            <pc:sldMk cId="340623003" sldId="274"/>
            <ac:spMk id="8" creationId="{00000000-0000-0000-0000-000000000000}"/>
          </ac:spMkLst>
        </pc:spChg>
        <pc:picChg chg="del">
          <ac:chgData name="Michaelsen, Børje" userId="c36523e3-11ed-4011-9a41-1983019c0634" providerId="ADAL" clId="{ECAEB5CB-3378-4487-ADA8-63ED5061A995}" dt="2024-09-12T11:42:45.373" v="0" actId="478"/>
          <ac:picMkLst>
            <pc:docMk/>
            <pc:sldMk cId="340623003" sldId="274"/>
            <ac:picMk id="5" creationId="{00000000-0000-0000-0000-000000000000}"/>
          </ac:picMkLst>
        </pc:picChg>
        <pc:picChg chg="add del mod">
          <ac:chgData name="Michaelsen, Børje" userId="c36523e3-11ed-4011-9a41-1983019c0634" providerId="ADAL" clId="{ECAEB5CB-3378-4487-ADA8-63ED5061A995}" dt="2024-09-12T12:53:20.447" v="8" actId="478"/>
          <ac:picMkLst>
            <pc:docMk/>
            <pc:sldMk cId="340623003" sldId="274"/>
            <ac:picMk id="9" creationId="{81D8294C-38B9-4CF2-9434-965B9A754FB9}"/>
          </ac:picMkLst>
        </pc:picChg>
        <pc:picChg chg="add mod">
          <ac:chgData name="Michaelsen, Børje" userId="c36523e3-11ed-4011-9a41-1983019c0634" providerId="ADAL" clId="{ECAEB5CB-3378-4487-ADA8-63ED5061A995}" dt="2024-09-12T12:54:26.485" v="18" actId="962"/>
          <ac:picMkLst>
            <pc:docMk/>
            <pc:sldMk cId="340623003" sldId="274"/>
            <ac:picMk id="11" creationId="{6959AA73-96B8-D87B-25CA-800BD17C5405}"/>
          </ac:picMkLst>
        </pc:picChg>
      </pc:sldChg>
      <pc:sldChg chg="modSp mod">
        <pc:chgData name="Michaelsen, Børje" userId="c36523e3-11ed-4011-9a41-1983019c0634" providerId="ADAL" clId="{ECAEB5CB-3378-4487-ADA8-63ED5061A995}" dt="2024-09-20T08:42:51.467" v="27" actId="962"/>
        <pc:sldMkLst>
          <pc:docMk/>
          <pc:sldMk cId="559240798" sldId="1093"/>
        </pc:sldMkLst>
        <pc:picChg chg="mod">
          <ac:chgData name="Michaelsen, Børje" userId="c36523e3-11ed-4011-9a41-1983019c0634" providerId="ADAL" clId="{ECAEB5CB-3378-4487-ADA8-63ED5061A995}" dt="2024-09-20T08:42:35.498" v="23" actId="962"/>
          <ac:picMkLst>
            <pc:docMk/>
            <pc:sldMk cId="559240798" sldId="1093"/>
            <ac:picMk id="2" creationId="{9ED16172-C3D5-8141-DDBA-F023E7536CAB}"/>
          </ac:picMkLst>
        </pc:picChg>
        <pc:picChg chg="mod">
          <ac:chgData name="Michaelsen, Børje" userId="c36523e3-11ed-4011-9a41-1983019c0634" providerId="ADAL" clId="{ECAEB5CB-3378-4487-ADA8-63ED5061A995}" dt="2024-09-20T08:42:51.467" v="27" actId="962"/>
          <ac:picMkLst>
            <pc:docMk/>
            <pc:sldMk cId="559240798" sldId="1093"/>
            <ac:picMk id="3" creationId="{9E448481-832A-35B7-1CDD-47F0120F02E0}"/>
          </ac:picMkLst>
        </pc:picChg>
        <pc:picChg chg="mod">
          <ac:chgData name="Michaelsen, Børje" userId="c36523e3-11ed-4011-9a41-1983019c0634" providerId="ADAL" clId="{ECAEB5CB-3378-4487-ADA8-63ED5061A995}" dt="2024-09-20T08:42:43.776" v="25" actId="962"/>
          <ac:picMkLst>
            <pc:docMk/>
            <pc:sldMk cId="559240798" sldId="1093"/>
            <ac:picMk id="4" creationId="{052C2109-C201-6D87-C7B9-CCF183200AAD}"/>
          </ac:picMkLst>
        </pc:picChg>
      </pc:sldChg>
      <pc:sldChg chg="modNotesTx">
        <pc:chgData name="Michaelsen, Børje" userId="c36523e3-11ed-4011-9a41-1983019c0634" providerId="ADAL" clId="{ECAEB5CB-3378-4487-ADA8-63ED5061A995}" dt="2024-09-20T08:43:06.013" v="39" actId="20577"/>
        <pc:sldMkLst>
          <pc:docMk/>
          <pc:sldMk cId="2611775227" sldId="1095"/>
        </pc:sldMkLst>
      </pc:sldChg>
    </pc:docChg>
  </pc:docChgLst>
  <pc:docChgLst>
    <pc:chgData name="Michaelsen, Børje" userId="c36523e3-11ed-4011-9a41-1983019c0634" providerId="ADAL" clId="{50C07F04-D920-4D01-A20B-D11D454E0958}"/>
    <pc:docChg chg="undo custSel modSld">
      <pc:chgData name="Michaelsen, Børje" userId="c36523e3-11ed-4011-9a41-1983019c0634" providerId="ADAL" clId="{50C07F04-D920-4D01-A20B-D11D454E0958}" dt="2024-08-28T11:15:03.064" v="947" actId="1076"/>
      <pc:docMkLst>
        <pc:docMk/>
      </pc:docMkLst>
      <pc:sldChg chg="modSp mod modNotesTx">
        <pc:chgData name="Michaelsen, Børje" userId="c36523e3-11ed-4011-9a41-1983019c0634" providerId="ADAL" clId="{50C07F04-D920-4D01-A20B-D11D454E0958}" dt="2024-08-06T08:51:32.973" v="357" actId="20577"/>
        <pc:sldMkLst>
          <pc:docMk/>
          <pc:sldMk cId="1380386693" sldId="260"/>
        </pc:sldMkLst>
        <pc:graphicFrameChg chg="modGraphic">
          <ac:chgData name="Michaelsen, Børje" userId="c36523e3-11ed-4011-9a41-1983019c0634" providerId="ADAL" clId="{50C07F04-D920-4D01-A20B-D11D454E0958}" dt="2024-08-06T08:48:58.729" v="325"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50C07F04-D920-4D01-A20B-D11D454E0958}" dt="2024-08-06T08:51:32.973" v="357"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50C07F04-D920-4D01-A20B-D11D454E0958}" dt="2024-08-06T08:50:35.477" v="345"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50C07F04-D920-4D01-A20B-D11D454E0958}" dt="2024-08-06T08:51:11.378" v="353"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50C07F04-D920-4D01-A20B-D11D454E0958}" dt="2024-08-13T07:32:59.062" v="789" actId="478"/>
        <pc:sldMkLst>
          <pc:docMk/>
          <pc:sldMk cId="4123357996" sldId="261"/>
        </pc:sldMkLst>
        <pc:spChg chg="del">
          <ac:chgData name="Michaelsen, Børje" userId="c36523e3-11ed-4011-9a41-1983019c0634" providerId="ADAL" clId="{50C07F04-D920-4D01-A20B-D11D454E0958}" dt="2024-08-13T07:32:59.062" v="789" actId="478"/>
          <ac:spMkLst>
            <pc:docMk/>
            <pc:sldMk cId="4123357996" sldId="261"/>
            <ac:spMk id="2" creationId="{00000000-0000-0000-0000-000000000000}"/>
          </ac:spMkLst>
        </pc:spChg>
        <pc:spChg chg="mod">
          <ac:chgData name="Michaelsen, Børje" userId="c36523e3-11ed-4011-9a41-1983019c0634" providerId="ADAL" clId="{50C07F04-D920-4D01-A20B-D11D454E0958}" dt="2024-08-13T07:32:52.889" v="788" actId="20577"/>
          <ac:spMkLst>
            <pc:docMk/>
            <pc:sldMk cId="4123357996" sldId="261"/>
            <ac:spMk id="3" creationId="{0E208661-40B4-4483-9A05-FE473BED7235}"/>
          </ac:spMkLst>
        </pc:spChg>
        <pc:graphicFrameChg chg="del">
          <ac:chgData name="Michaelsen, Børje" userId="c36523e3-11ed-4011-9a41-1983019c0634" providerId="ADAL" clId="{50C07F04-D920-4D01-A20B-D11D454E0958}" dt="2024-08-13T07:32:22.581" v="776" actId="478"/>
          <ac:graphicFrameMkLst>
            <pc:docMk/>
            <pc:sldMk cId="4123357996" sldId="261"/>
            <ac:graphicFrameMk id="6" creationId="{18197FB1-9372-F1DC-4225-665AF0196003}"/>
          </ac:graphicFrameMkLst>
        </pc:graphicFrameChg>
        <pc:graphicFrameChg chg="add mod">
          <ac:chgData name="Michaelsen, Børje" userId="c36523e3-11ed-4011-9a41-1983019c0634" providerId="ADAL" clId="{50C07F04-D920-4D01-A20B-D11D454E0958}" dt="2024-08-13T07:32:37.350" v="781" actId="14100"/>
          <ac:graphicFrameMkLst>
            <pc:docMk/>
            <pc:sldMk cId="4123357996" sldId="261"/>
            <ac:graphicFrameMk id="7" creationId="{20743EAD-2704-49A5-4317-249C8750BC66}"/>
          </ac:graphicFrameMkLst>
        </pc:graphicFrameChg>
      </pc:sldChg>
      <pc:sldChg chg="addSp delSp modSp mod">
        <pc:chgData name="Michaelsen, Børje" userId="c36523e3-11ed-4011-9a41-1983019c0634" providerId="ADAL" clId="{50C07F04-D920-4D01-A20B-D11D454E0958}" dt="2024-08-07T14:17:04.397" v="617" actId="27918"/>
        <pc:sldMkLst>
          <pc:docMk/>
          <pc:sldMk cId="3237931907" sldId="263"/>
        </pc:sldMkLst>
        <pc:spChg chg="mod">
          <ac:chgData name="Michaelsen, Børje" userId="c36523e3-11ed-4011-9a41-1983019c0634" providerId="ADAL" clId="{50C07F04-D920-4D01-A20B-D11D454E0958}" dt="2024-08-07T12:09:01.358" v="539" actId="6549"/>
          <ac:spMkLst>
            <pc:docMk/>
            <pc:sldMk cId="3237931907" sldId="263"/>
            <ac:spMk id="10" creationId="{00000000-0000-0000-0000-000000000000}"/>
          </ac:spMkLst>
        </pc:spChg>
        <pc:graphicFrameChg chg="del">
          <ac:chgData name="Michaelsen, Børje" userId="c36523e3-11ed-4011-9a41-1983019c0634" providerId="ADAL" clId="{50C07F04-D920-4D01-A20B-D11D454E0958}" dt="2024-08-07T12:06:18.811" v="468" actId="478"/>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50C07F04-D920-4D01-A20B-D11D454E0958}" dt="2024-08-07T12:06:44.097" v="473" actId="14100"/>
          <ac:graphicFrameMkLst>
            <pc:docMk/>
            <pc:sldMk cId="3237931907" sldId="263"/>
            <ac:graphicFrameMk id="4" creationId="{900796C7-9568-AA7D-48B1-D162673FAB3E}"/>
          </ac:graphicFrameMkLst>
        </pc:graphicFrameChg>
        <pc:graphicFrameChg chg="del">
          <ac:chgData name="Michaelsen, Børje" userId="c36523e3-11ed-4011-9a41-1983019c0634" providerId="ADAL" clId="{50C07F04-D920-4D01-A20B-D11D454E0958}" dt="2024-08-07T12:07:00.454" v="475" actId="478"/>
          <ac:graphicFrameMkLst>
            <pc:docMk/>
            <pc:sldMk cId="3237931907" sldId="263"/>
            <ac:graphicFrameMk id="5" creationId="{E5C71C2E-AF53-CAD5-0770-CF80592B48C1}"/>
          </ac:graphicFrameMkLst>
        </pc:graphicFrameChg>
        <pc:graphicFrameChg chg="del">
          <ac:chgData name="Michaelsen, Børje" userId="c36523e3-11ed-4011-9a41-1983019c0634" providerId="ADAL" clId="{50C07F04-D920-4D01-A20B-D11D454E0958}" dt="2024-08-07T12:07:19.273" v="480" actId="478"/>
          <ac:graphicFrameMkLst>
            <pc:docMk/>
            <pc:sldMk cId="3237931907" sldId="263"/>
            <ac:graphicFrameMk id="6" creationId="{5811086E-7EBB-5CCF-E9C8-6A367F6717D6}"/>
          </ac:graphicFrameMkLst>
        </pc:graphicFrameChg>
        <pc:graphicFrameChg chg="add mod">
          <ac:chgData name="Michaelsen, Børje" userId="c36523e3-11ed-4011-9a41-1983019c0634" providerId="ADAL" clId="{50C07F04-D920-4D01-A20B-D11D454E0958}" dt="2024-08-07T12:07:14.971" v="479" actId="14100"/>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50C07F04-D920-4D01-A20B-D11D454E0958}" dt="2024-08-07T12:08:09.340" v="493" actId="13926"/>
          <ac:graphicFrameMkLst>
            <pc:docMk/>
            <pc:sldMk cId="3237931907" sldId="263"/>
            <ac:graphicFrameMk id="8" creationId="{1F04DA60-B7B3-B4E8-515E-A41EE2EA22A3}"/>
          </ac:graphicFrameMkLst>
        </pc:graphicFrameChg>
      </pc:sldChg>
      <pc:sldChg chg="addSp delSp modSp mod modNotesTx">
        <pc:chgData name="Michaelsen, Børje" userId="c36523e3-11ed-4011-9a41-1983019c0634" providerId="ADAL" clId="{50C07F04-D920-4D01-A20B-D11D454E0958}" dt="2024-08-28T11:15:03.064" v="947" actId="1076"/>
        <pc:sldMkLst>
          <pc:docMk/>
          <pc:sldMk cId="394652420" sldId="268"/>
        </pc:sldMkLst>
        <pc:spChg chg="mod">
          <ac:chgData name="Michaelsen, Børje" userId="c36523e3-11ed-4011-9a41-1983019c0634" providerId="ADAL" clId="{50C07F04-D920-4D01-A20B-D11D454E0958}" dt="2024-08-28T11:14:29.359" v="934" actId="14100"/>
          <ac:spMkLst>
            <pc:docMk/>
            <pc:sldMk cId="394652420" sldId="268"/>
            <ac:spMk id="3" creationId="{00000000-0000-0000-0000-000000000000}"/>
          </ac:spMkLst>
        </pc:spChg>
        <pc:spChg chg="mod">
          <ac:chgData name="Michaelsen, Børje" userId="c36523e3-11ed-4011-9a41-1983019c0634" providerId="ADAL" clId="{50C07F04-D920-4D01-A20B-D11D454E0958}" dt="2024-08-28T11:14:38.701" v="944" actId="20577"/>
          <ac:spMkLst>
            <pc:docMk/>
            <pc:sldMk cId="394652420" sldId="268"/>
            <ac:spMk id="5" creationId="{00000000-0000-0000-0000-000000000000}"/>
          </ac:spMkLst>
        </pc:spChg>
        <pc:graphicFrameChg chg="add mod">
          <ac:chgData name="Michaelsen, Børje" userId="c36523e3-11ed-4011-9a41-1983019c0634" providerId="ADAL" clId="{50C07F04-D920-4D01-A20B-D11D454E0958}" dt="2024-08-28T11:15:03.064" v="947" actId="1076"/>
          <ac:graphicFrameMkLst>
            <pc:docMk/>
            <pc:sldMk cId="394652420" sldId="268"/>
            <ac:graphicFrameMk id="7" creationId="{D005A174-951D-5523-A50A-72D519C22056}"/>
          </ac:graphicFrameMkLst>
        </pc:graphicFrameChg>
        <pc:picChg chg="del">
          <ac:chgData name="Michaelsen, Børje" userId="c36523e3-11ed-4011-9a41-1983019c0634" providerId="ADAL" clId="{50C07F04-D920-4D01-A20B-D11D454E0958}" dt="2024-08-28T11:14:33.008" v="935" actId="478"/>
          <ac:picMkLst>
            <pc:docMk/>
            <pc:sldMk cId="394652420" sldId="268"/>
            <ac:picMk id="6" creationId="{00000000-0000-0000-0000-000000000000}"/>
          </ac:picMkLst>
        </pc:picChg>
      </pc:sldChg>
      <pc:sldChg chg="addSp delSp modSp mod modNotesTx">
        <pc:chgData name="Michaelsen, Børje" userId="c36523e3-11ed-4011-9a41-1983019c0634" providerId="ADAL" clId="{50C07F04-D920-4D01-A20B-D11D454E0958}" dt="2024-08-05T07:54:02.704" v="121" actId="207"/>
        <pc:sldMkLst>
          <pc:docMk/>
          <pc:sldMk cId="1763573476" sldId="269"/>
        </pc:sldMkLst>
        <pc:graphicFrameChg chg="add mod">
          <ac:chgData name="Michaelsen, Børje" userId="c36523e3-11ed-4011-9a41-1983019c0634" providerId="ADAL" clId="{50C07F04-D920-4D01-A20B-D11D454E0958}" dt="2024-08-05T07:54:02.704" v="121" actId="207"/>
          <ac:graphicFrameMkLst>
            <pc:docMk/>
            <pc:sldMk cId="1763573476" sldId="269"/>
            <ac:graphicFrameMk id="4" creationId="{22427995-5A5A-15A8-3F06-87414C285E30}"/>
          </ac:graphicFrameMkLst>
        </pc:graphicFrameChg>
        <pc:graphicFrameChg chg="del">
          <ac:chgData name="Michaelsen, Børje" userId="c36523e3-11ed-4011-9a41-1983019c0634" providerId="ADAL" clId="{50C07F04-D920-4D01-A20B-D11D454E0958}" dt="2024-08-05T07:52:03.388" v="57" actId="478"/>
          <ac:graphicFrameMkLst>
            <pc:docMk/>
            <pc:sldMk cId="1763573476" sldId="269"/>
            <ac:graphicFrameMk id="6" creationId="{A1A94EB7-1276-6FE4-BDE8-4C8AFDB3ADC4}"/>
          </ac:graphicFrameMkLst>
        </pc:graphicFrameChg>
        <pc:picChg chg="mod">
          <ac:chgData name="Michaelsen, Børje" userId="c36523e3-11ed-4011-9a41-1983019c0634" providerId="ADAL" clId="{50C07F04-D920-4D01-A20B-D11D454E0958}" dt="2024-08-05T07:52:26.849" v="87" actId="1035"/>
          <ac:picMkLst>
            <pc:docMk/>
            <pc:sldMk cId="1763573476" sldId="269"/>
            <ac:picMk id="7" creationId="{E88FB574-9C5C-6D5D-27DB-EB3A93C82932}"/>
          </ac:picMkLst>
        </pc:picChg>
        <pc:picChg chg="mod">
          <ac:chgData name="Michaelsen, Børje" userId="c36523e3-11ed-4011-9a41-1983019c0634" providerId="ADAL" clId="{50C07F04-D920-4D01-A20B-D11D454E0958}" dt="2024-08-05T07:53:22.103" v="115" actId="1076"/>
          <ac:picMkLst>
            <pc:docMk/>
            <pc:sldMk cId="1763573476" sldId="269"/>
            <ac:picMk id="8" creationId="{2B31ED66-DB86-9EE4-FFB7-0BAD64CB21E3}"/>
          </ac:picMkLst>
        </pc:picChg>
        <pc:picChg chg="mod">
          <ac:chgData name="Michaelsen, Børje" userId="c36523e3-11ed-4011-9a41-1983019c0634" providerId="ADAL" clId="{50C07F04-D920-4D01-A20B-D11D454E0958}" dt="2024-08-05T07:53:27.304" v="116" actId="1076"/>
          <ac:picMkLst>
            <pc:docMk/>
            <pc:sldMk cId="1763573476" sldId="269"/>
            <ac:picMk id="9" creationId="{55AE8C8D-9E3A-D80A-DD58-070538506059}"/>
          </ac:picMkLst>
        </pc:picChg>
        <pc:picChg chg="mod">
          <ac:chgData name="Michaelsen, Børje" userId="c36523e3-11ed-4011-9a41-1983019c0634" providerId="ADAL" clId="{50C07F04-D920-4D01-A20B-D11D454E0958}" dt="2024-08-05T07:52:26.849" v="87" actId="1035"/>
          <ac:picMkLst>
            <pc:docMk/>
            <pc:sldMk cId="1763573476" sldId="269"/>
            <ac:picMk id="10" creationId="{18F445A5-70C2-1058-659F-0AAF121E2D7F}"/>
          </ac:picMkLst>
        </pc:picChg>
        <pc:picChg chg="mod">
          <ac:chgData name="Michaelsen, Børje" userId="c36523e3-11ed-4011-9a41-1983019c0634" providerId="ADAL" clId="{50C07F04-D920-4D01-A20B-D11D454E0958}" dt="2024-08-05T07:53:38.312" v="117" actId="1076"/>
          <ac:picMkLst>
            <pc:docMk/>
            <pc:sldMk cId="1763573476" sldId="269"/>
            <ac:picMk id="11" creationId="{A70B7425-EDCF-5850-EB83-36F03A315FD3}"/>
          </ac:picMkLst>
        </pc:picChg>
        <pc:picChg chg="mod">
          <ac:chgData name="Michaelsen, Børje" userId="c36523e3-11ed-4011-9a41-1983019c0634" providerId="ADAL" clId="{50C07F04-D920-4D01-A20B-D11D454E0958}" dt="2024-08-05T07:53:44.832" v="118" actId="1076"/>
          <ac:picMkLst>
            <pc:docMk/>
            <pc:sldMk cId="1763573476" sldId="269"/>
            <ac:picMk id="12" creationId="{97BB1E70-2BE2-ABB1-014F-C1B860AFBD6A}"/>
          </ac:picMkLst>
        </pc:picChg>
      </pc:sldChg>
      <pc:sldChg chg="addSp delSp modSp mod modNotesTx">
        <pc:chgData name="Michaelsen, Børje" userId="c36523e3-11ed-4011-9a41-1983019c0634" providerId="ADAL" clId="{50C07F04-D920-4D01-A20B-D11D454E0958}" dt="2024-08-08T11:32:53.174" v="742" actId="20577"/>
        <pc:sldMkLst>
          <pc:docMk/>
          <pc:sldMk cId="1348694183" sldId="272"/>
        </pc:sldMkLst>
        <pc:graphicFrameChg chg="add del mod modGraphic">
          <ac:chgData name="Michaelsen, Børje" userId="c36523e3-11ed-4011-9a41-1983019c0634" providerId="ADAL" clId="{50C07F04-D920-4D01-A20B-D11D454E0958}" dt="2024-08-08T11:32:53.174" v="742"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50C07F04-D920-4D01-A20B-D11D454E0958}" dt="2024-08-08T11:31:50.341" v="730"/>
          <ac:picMkLst>
            <pc:docMk/>
            <pc:sldMk cId="1348694183" sldId="272"/>
            <ac:picMk id="3" creationId="{349EAD55-3964-EECF-3CA3-5584868A594B}"/>
          </ac:picMkLst>
        </pc:picChg>
        <pc:picChg chg="add del">
          <ac:chgData name="Michaelsen, Børje" userId="c36523e3-11ed-4011-9a41-1983019c0634" providerId="ADAL" clId="{50C07F04-D920-4D01-A20B-D11D454E0958}" dt="2024-08-08T11:31:48.678" v="729" actId="478"/>
          <ac:picMkLst>
            <pc:docMk/>
            <pc:sldMk cId="1348694183" sldId="272"/>
            <ac:picMk id="4" creationId="{2F1426EA-EA5E-6D12-19E7-4BC62398CF34}"/>
          </ac:picMkLst>
        </pc:picChg>
      </pc:sldChg>
      <pc:sldChg chg="addSp delSp modSp mod modNotesTx">
        <pc:chgData name="Michaelsen, Børje" userId="c36523e3-11ed-4011-9a41-1983019c0634" providerId="ADAL" clId="{50C07F04-D920-4D01-A20B-D11D454E0958}" dt="2024-08-05T13:02:31.709" v="233" actId="27918"/>
        <pc:sldMkLst>
          <pc:docMk/>
          <pc:sldMk cId="4110371661" sldId="275"/>
        </pc:sldMkLst>
        <pc:graphicFrameChg chg="del">
          <ac:chgData name="Michaelsen, Børje" userId="c36523e3-11ed-4011-9a41-1983019c0634" providerId="ADAL" clId="{50C07F04-D920-4D01-A20B-D11D454E0958}" dt="2024-08-05T12:24:54.255" v="187"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50C07F04-D920-4D01-A20B-D11D454E0958}" dt="2024-08-05T12:25:25.337" v="193"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50C07F04-D920-4D01-A20B-D11D454E0958}" dt="2024-08-05T11:13:39.221" v="185" actId="20577"/>
        <pc:sldMkLst>
          <pc:docMk/>
          <pc:sldMk cId="768537486" sldId="276"/>
        </pc:sldMkLst>
        <pc:spChg chg="mod">
          <ac:chgData name="Michaelsen, Børje" userId="c36523e3-11ed-4011-9a41-1983019c0634" providerId="ADAL" clId="{50C07F04-D920-4D01-A20B-D11D454E0958}" dt="2024-08-05T11:12:47.749" v="144" actId="1035"/>
          <ac:spMkLst>
            <pc:docMk/>
            <pc:sldMk cId="768537486" sldId="276"/>
            <ac:spMk id="5" creationId="{1259BCDE-C1A8-3652-C344-859271CDD0C8}"/>
          </ac:spMkLst>
        </pc:spChg>
        <pc:spChg chg="add del mod">
          <ac:chgData name="Michaelsen, Børje" userId="c36523e3-11ed-4011-9a41-1983019c0634" providerId="ADAL" clId="{50C07F04-D920-4D01-A20B-D11D454E0958}" dt="2024-08-05T11:12:20.659" v="125" actId="478"/>
          <ac:spMkLst>
            <pc:docMk/>
            <pc:sldMk cId="768537486" sldId="276"/>
            <ac:spMk id="6" creationId="{E0A4552D-5027-6192-0EF7-8589B4F8E0BE}"/>
          </ac:spMkLst>
        </pc:spChg>
        <pc:spChg chg="del">
          <ac:chgData name="Michaelsen, Børje" userId="c36523e3-11ed-4011-9a41-1983019c0634" providerId="ADAL" clId="{50C07F04-D920-4D01-A20B-D11D454E0958}" dt="2024-08-05T11:12:18.419" v="124" actId="478"/>
          <ac:spMkLst>
            <pc:docMk/>
            <pc:sldMk cId="768537486" sldId="276"/>
            <ac:spMk id="9" creationId="{00000000-0000-0000-0000-000000000000}"/>
          </ac:spMkLst>
        </pc:spChg>
        <pc:graphicFrameChg chg="add mod modGraphic">
          <ac:chgData name="Michaelsen, Børje" userId="c36523e3-11ed-4011-9a41-1983019c0634" providerId="ADAL" clId="{50C07F04-D920-4D01-A20B-D11D454E0958}" dt="2024-08-05T11:13:39.221" v="185" actId="20577"/>
          <ac:graphicFrameMkLst>
            <pc:docMk/>
            <pc:sldMk cId="768537486" sldId="276"/>
            <ac:graphicFrameMk id="7" creationId="{D6D52708-4DCD-2CC3-B3DD-80633FD8B8D1}"/>
          </ac:graphicFrameMkLst>
        </pc:graphicFrameChg>
        <pc:graphicFrameChg chg="del">
          <ac:chgData name="Michaelsen, Børje" userId="c36523e3-11ed-4011-9a41-1983019c0634" providerId="ADAL" clId="{50C07F04-D920-4D01-A20B-D11D454E0958}" dt="2024-08-05T11:12:23.971" v="126" actId="478"/>
          <ac:graphicFrameMkLst>
            <pc:docMk/>
            <pc:sldMk cId="768537486" sldId="276"/>
            <ac:graphicFrameMk id="8" creationId="{00000000-0000-0000-0000-000000000000}"/>
          </ac:graphicFrameMkLst>
        </pc:graphicFrameChg>
        <pc:picChg chg="del">
          <ac:chgData name="Michaelsen, Børje" userId="c36523e3-11ed-4011-9a41-1983019c0634" providerId="ADAL" clId="{50C07F04-D920-4D01-A20B-D11D454E0958}" dt="2024-08-05T11:12:26.148" v="127" actId="478"/>
          <ac:picMkLst>
            <pc:docMk/>
            <pc:sldMk cId="768537486" sldId="276"/>
            <ac:picMk id="3" creationId="{B8E6DEDC-974D-81F9-72CC-E0F68FEFD9A5}"/>
          </ac:picMkLst>
        </pc:picChg>
        <pc:picChg chg="add mod">
          <ac:chgData name="Michaelsen, Børje" userId="c36523e3-11ed-4011-9a41-1983019c0634" providerId="ADAL" clId="{50C07F04-D920-4D01-A20B-D11D454E0958}" dt="2024-08-05T11:12:36.485" v="128"/>
          <ac:picMkLst>
            <pc:docMk/>
            <pc:sldMk cId="768537486" sldId="276"/>
            <ac:picMk id="10" creationId="{D69D462F-8223-0935-7B28-35F730F42C79}"/>
          </ac:picMkLst>
        </pc:picChg>
        <pc:picChg chg="add mod">
          <ac:chgData name="Michaelsen, Børje" userId="c36523e3-11ed-4011-9a41-1983019c0634" providerId="ADAL" clId="{50C07F04-D920-4D01-A20B-D11D454E0958}" dt="2024-08-05T11:12:36.485" v="128"/>
          <ac:picMkLst>
            <pc:docMk/>
            <pc:sldMk cId="768537486" sldId="276"/>
            <ac:picMk id="11" creationId="{CAEABCBC-DE6C-E964-9CCE-DA3EA2609265}"/>
          </ac:picMkLst>
        </pc:picChg>
      </pc:sldChg>
      <pc:sldChg chg="addSp delSp modSp mod">
        <pc:chgData name="Michaelsen, Børje" userId="c36523e3-11ed-4011-9a41-1983019c0634" providerId="ADAL" clId="{50C07F04-D920-4D01-A20B-D11D454E0958}" dt="2024-08-05T13:46:23.738" v="274" actId="27918"/>
        <pc:sldMkLst>
          <pc:docMk/>
          <pc:sldMk cId="2721633966" sldId="277"/>
        </pc:sldMkLst>
        <pc:graphicFrameChg chg="del">
          <ac:chgData name="Michaelsen, Børje" userId="c36523e3-11ed-4011-9a41-1983019c0634" providerId="ADAL" clId="{50C07F04-D920-4D01-A20B-D11D454E0958}" dt="2024-08-05T13:19:56.517" v="234"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50C07F04-D920-4D01-A20B-D11D454E0958}" dt="2024-08-05T13:20:10.436" v="23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50C07F04-D920-4D01-A20B-D11D454E0958}" dt="2024-08-26T13:01:36.744" v="931" actId="13926"/>
        <pc:sldMkLst>
          <pc:docMk/>
          <pc:sldMk cId="662108869" sldId="279"/>
        </pc:sldMkLst>
        <pc:spChg chg="mod">
          <ac:chgData name="Michaelsen, Børje" userId="c36523e3-11ed-4011-9a41-1983019c0634" providerId="ADAL" clId="{50C07F04-D920-4D01-A20B-D11D454E0958}" dt="2024-08-08T07:22:38.168" v="619" actId="20577"/>
          <ac:spMkLst>
            <pc:docMk/>
            <pc:sldMk cId="662108869" sldId="279"/>
            <ac:spMk id="2" creationId="{00000000-0000-0000-0000-000000000000}"/>
          </ac:spMkLst>
        </pc:spChg>
        <pc:spChg chg="mod">
          <ac:chgData name="Michaelsen, Børje" userId="c36523e3-11ed-4011-9a41-1983019c0634" providerId="ADAL" clId="{50C07F04-D920-4D01-A20B-D11D454E0958}" dt="2024-08-26T13:01:36.744" v="931" actId="13926"/>
          <ac:spMkLst>
            <pc:docMk/>
            <pc:sldMk cId="662108869" sldId="279"/>
            <ac:spMk id="10" creationId="{00000000-0000-0000-0000-000000000000}"/>
          </ac:spMkLst>
        </pc:spChg>
        <pc:graphicFrameChg chg="del">
          <ac:chgData name="Michaelsen, Børje" userId="c36523e3-11ed-4011-9a41-1983019c0634" providerId="ADAL" clId="{50C07F04-D920-4D01-A20B-D11D454E0958}" dt="2024-08-08T07:23:06.431" v="620"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50C07F04-D920-4D01-A20B-D11D454E0958}" dt="2024-08-08T07:24:35.274" v="623"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50C07F04-D920-4D01-A20B-D11D454E0958}" dt="2024-08-08T07:23:17.064" v="622" actId="1076"/>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50C07F04-D920-4D01-A20B-D11D454E0958}" dt="2024-08-08T07:24:51.962" v="629" actId="14100"/>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50C07F04-D920-4D01-A20B-D11D454E0958}" dt="2024-08-26T11:36:52.602" v="801" actId="20577"/>
        <pc:sldMkLst>
          <pc:docMk/>
          <pc:sldMk cId="835482435" sldId="282"/>
        </pc:sldMkLst>
        <pc:spChg chg="mod">
          <ac:chgData name="Michaelsen, Børje" userId="c36523e3-11ed-4011-9a41-1983019c0634" providerId="ADAL" clId="{50C07F04-D920-4D01-A20B-D11D454E0958}" dt="2024-08-26T11:36:52.602" v="801" actId="20577"/>
          <ac:spMkLst>
            <pc:docMk/>
            <pc:sldMk cId="835482435" sldId="282"/>
            <ac:spMk id="3" creationId="{00000000-0000-0000-0000-000000000000}"/>
          </ac:spMkLst>
        </pc:spChg>
        <pc:graphicFrameChg chg="del">
          <ac:chgData name="Michaelsen, Børje" userId="c36523e3-11ed-4011-9a41-1983019c0634" providerId="ADAL" clId="{50C07F04-D920-4D01-A20B-D11D454E0958}" dt="2024-08-26T11:36:36.173" v="790"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50C07F04-D920-4D01-A20B-D11D454E0958}" dt="2024-08-26T11:36:42.737" v="793" actId="1076"/>
          <ac:graphicFrameMkLst>
            <pc:docMk/>
            <pc:sldMk cId="835482435" sldId="282"/>
            <ac:graphicFrameMk id="5" creationId="{78039546-200C-51F9-A3B8-CF9627E87368}"/>
          </ac:graphicFrameMkLst>
        </pc:graphicFrameChg>
      </pc:sldChg>
      <pc:sldChg chg="addSp delSp modSp mod modNotesTx">
        <pc:chgData name="Michaelsen, Børje" userId="c36523e3-11ed-4011-9a41-1983019c0634" providerId="ADAL" clId="{50C07F04-D920-4D01-A20B-D11D454E0958}" dt="2024-08-12T09:10:00.983" v="773" actId="6549"/>
        <pc:sldMkLst>
          <pc:docMk/>
          <pc:sldMk cId="1751997248" sldId="284"/>
        </pc:sldMkLst>
        <pc:spChg chg="mod">
          <ac:chgData name="Michaelsen, Børje" userId="c36523e3-11ed-4011-9a41-1983019c0634" providerId="ADAL" clId="{50C07F04-D920-4D01-A20B-D11D454E0958}" dt="2024-08-12T09:10:00.983" v="773" actId="6549"/>
          <ac:spMkLst>
            <pc:docMk/>
            <pc:sldMk cId="1751997248" sldId="284"/>
            <ac:spMk id="3" creationId="{00000000-0000-0000-0000-000000000000}"/>
          </ac:spMkLst>
        </pc:spChg>
        <pc:spChg chg="mod">
          <ac:chgData name="Michaelsen, Børje" userId="c36523e3-11ed-4011-9a41-1983019c0634" providerId="ADAL" clId="{50C07F04-D920-4D01-A20B-D11D454E0958}" dt="2024-08-12T09:06:54.819" v="754" actId="1076"/>
          <ac:spMkLst>
            <pc:docMk/>
            <pc:sldMk cId="1751997248" sldId="284"/>
            <ac:spMk id="29" creationId="{00000000-0000-0000-0000-000000000000}"/>
          </ac:spMkLst>
        </pc:spChg>
        <pc:picChg chg="del">
          <ac:chgData name="Michaelsen, Børje" userId="c36523e3-11ed-4011-9a41-1983019c0634" providerId="ADAL" clId="{50C07F04-D920-4D01-A20B-D11D454E0958}" dt="2024-08-12T09:06:26.731" v="747" actId="478"/>
          <ac:picMkLst>
            <pc:docMk/>
            <pc:sldMk cId="1751997248" sldId="284"/>
            <ac:picMk id="40" creationId="{C94BB9D9-353B-93F7-B7F8-D9C88EDEDD68}"/>
          </ac:picMkLst>
        </pc:picChg>
        <pc:picChg chg="add mod ord">
          <ac:chgData name="Michaelsen, Børje" userId="c36523e3-11ed-4011-9a41-1983019c0634" providerId="ADAL" clId="{50C07F04-D920-4D01-A20B-D11D454E0958}" dt="2024-08-12T09:07:52.240" v="758" actId="962"/>
          <ac:picMkLst>
            <pc:docMk/>
            <pc:sldMk cId="1751997248" sldId="284"/>
            <ac:picMk id="42" creationId="{EAC818AA-139F-1D5B-A1C0-1C6F00CEC76E}"/>
          </ac:picMkLst>
        </pc:picChg>
        <pc:picChg chg="mod">
          <ac:chgData name="Michaelsen, Børje" userId="c36523e3-11ed-4011-9a41-1983019c0634" providerId="ADAL" clId="{50C07F04-D920-4D01-A20B-D11D454E0958}" dt="2024-08-12T09:08:37.320" v="763" actId="167"/>
          <ac:picMkLst>
            <pc:docMk/>
            <pc:sldMk cId="1751997248" sldId="284"/>
            <ac:picMk id="2050" creationId="{00000000-0000-0000-0000-000000000000}"/>
          </ac:picMkLst>
        </pc:picChg>
      </pc:sldChg>
      <pc:sldChg chg="addSp delSp modSp mod">
        <pc:chgData name="Michaelsen, Børje" userId="c36523e3-11ed-4011-9a41-1983019c0634" providerId="ADAL" clId="{50C07F04-D920-4D01-A20B-D11D454E0958}" dt="2024-08-07T09:56:49.664" v="467" actId="27918"/>
        <pc:sldMkLst>
          <pc:docMk/>
          <pc:sldMk cId="2938880870" sldId="288"/>
        </pc:sldMkLst>
        <pc:spChg chg="mod">
          <ac:chgData name="Michaelsen, Børje" userId="c36523e3-11ed-4011-9a41-1983019c0634" providerId="ADAL" clId="{50C07F04-D920-4D01-A20B-D11D454E0958}" dt="2024-08-06T12:37:57.827" v="362" actId="1076"/>
          <ac:spMkLst>
            <pc:docMk/>
            <pc:sldMk cId="2938880870" sldId="288"/>
            <ac:spMk id="5" creationId="{72C38B41-131A-AFC1-9683-784948204578}"/>
          </ac:spMkLst>
        </pc:spChg>
        <pc:spChg chg="mod">
          <ac:chgData name="Michaelsen, Børje" userId="c36523e3-11ed-4011-9a41-1983019c0634" providerId="ADAL" clId="{50C07F04-D920-4D01-A20B-D11D454E0958}" dt="2024-08-06T13:10:59.770" v="424" actId="6549"/>
          <ac:spMkLst>
            <pc:docMk/>
            <pc:sldMk cId="2938880870" sldId="288"/>
            <ac:spMk id="7" creationId="{00000000-0000-0000-0000-000000000000}"/>
          </ac:spMkLst>
        </pc:spChg>
        <pc:spChg chg="mod">
          <ac:chgData name="Michaelsen, Børje" userId="c36523e3-11ed-4011-9a41-1983019c0634" providerId="ADAL" clId="{50C07F04-D920-4D01-A20B-D11D454E0958}" dt="2024-08-06T12:40:22.776" v="400" actId="20577"/>
          <ac:spMkLst>
            <pc:docMk/>
            <pc:sldMk cId="2938880870" sldId="288"/>
            <ac:spMk id="18" creationId="{00000000-0000-0000-0000-000000000000}"/>
          </ac:spMkLst>
        </pc:spChg>
        <pc:graphicFrameChg chg="del">
          <ac:chgData name="Michaelsen, Børje" userId="c36523e3-11ed-4011-9a41-1983019c0634" providerId="ADAL" clId="{50C07F04-D920-4D01-A20B-D11D454E0958}" dt="2024-08-06T12:37:32.209" v="358" actId="478"/>
          <ac:graphicFrameMkLst>
            <pc:docMk/>
            <pc:sldMk cId="2938880870" sldId="288"/>
            <ac:graphicFrameMk id="3" creationId="{00000000-0008-0000-0100-000002000000}"/>
          </ac:graphicFrameMkLst>
        </pc:graphicFrameChg>
        <pc:graphicFrameChg chg="del">
          <ac:chgData name="Michaelsen, Børje" userId="c36523e3-11ed-4011-9a41-1983019c0634" providerId="ADAL" clId="{50C07F04-D920-4D01-A20B-D11D454E0958}" dt="2024-08-06T12:39:54.639" v="389" actId="478"/>
          <ac:graphicFrameMkLst>
            <pc:docMk/>
            <pc:sldMk cId="2938880870" sldId="288"/>
            <ac:graphicFrameMk id="4" creationId="{00000000-0008-0000-0300-000003000000}"/>
          </ac:graphicFrameMkLst>
        </pc:graphicFrameChg>
        <pc:graphicFrameChg chg="add mod">
          <ac:chgData name="Michaelsen, Børje" userId="c36523e3-11ed-4011-9a41-1983019c0634" providerId="ADAL" clId="{50C07F04-D920-4D01-A20B-D11D454E0958}" dt="2024-08-06T13:11:05.094" v="428" actId="1036"/>
          <ac:graphicFrameMkLst>
            <pc:docMk/>
            <pc:sldMk cId="2938880870" sldId="288"/>
            <ac:graphicFrameMk id="8" creationId="{00000000-0008-0000-0100-000002000000}"/>
          </ac:graphicFrameMkLst>
        </pc:graphicFrameChg>
        <pc:graphicFrameChg chg="add mod">
          <ac:chgData name="Michaelsen, Børje" userId="c36523e3-11ed-4011-9a41-1983019c0634" providerId="ADAL" clId="{50C07F04-D920-4D01-A20B-D11D454E0958}" dt="2024-08-06T13:11:14.366" v="429" actId="1076"/>
          <ac:graphicFrameMkLst>
            <pc:docMk/>
            <pc:sldMk cId="2938880870" sldId="288"/>
            <ac:graphicFrameMk id="9" creationId="{00000000-0008-0000-0300-000003000000}"/>
          </ac:graphicFrameMkLst>
        </pc:graphicFrameChg>
      </pc:sldChg>
      <pc:sldChg chg="addSp delSp modSp mod">
        <pc:chgData name="Michaelsen, Børje" userId="c36523e3-11ed-4011-9a41-1983019c0634" providerId="ADAL" clId="{50C07F04-D920-4D01-A20B-D11D454E0958}" dt="2024-08-06T06:47:47.465" v="292" actId="1076"/>
        <pc:sldMkLst>
          <pc:docMk/>
          <pc:sldMk cId="990372706" sldId="289"/>
        </pc:sldMkLst>
        <pc:graphicFrameChg chg="del">
          <ac:chgData name="Michaelsen, Børje" userId="c36523e3-11ed-4011-9a41-1983019c0634" providerId="ADAL" clId="{50C07F04-D920-4D01-A20B-D11D454E0958}" dt="2024-08-06T06:47:25.954" v="287" actId="478"/>
          <ac:graphicFrameMkLst>
            <pc:docMk/>
            <pc:sldMk cId="990372706" sldId="289"/>
            <ac:graphicFrameMk id="4" creationId="{00000000-0008-0000-0000-000002000000}"/>
          </ac:graphicFrameMkLst>
        </pc:graphicFrameChg>
        <pc:graphicFrameChg chg="del">
          <ac:chgData name="Michaelsen, Børje" userId="c36523e3-11ed-4011-9a41-1983019c0634" providerId="ADAL" clId="{50C07F04-D920-4D01-A20B-D11D454E0958}" dt="2024-08-06T06:46:01.006" v="275" actId="478"/>
          <ac:graphicFrameMkLst>
            <pc:docMk/>
            <pc:sldMk cId="990372706" sldId="289"/>
            <ac:graphicFrameMk id="5" creationId="{00000000-0008-0000-0200-000002000000}"/>
          </ac:graphicFrameMkLst>
        </pc:graphicFrameChg>
        <pc:graphicFrameChg chg="del">
          <ac:chgData name="Michaelsen, Børje" userId="c36523e3-11ed-4011-9a41-1983019c0634" providerId="ADAL" clId="{50C07F04-D920-4D01-A20B-D11D454E0958}" dt="2024-08-06T06:46:42.479" v="280" actId="478"/>
          <ac:graphicFrameMkLst>
            <pc:docMk/>
            <pc:sldMk cId="990372706" sldId="289"/>
            <ac:graphicFrameMk id="6" creationId="{00000000-0008-0000-0000-000002000000}"/>
          </ac:graphicFrameMkLst>
        </pc:graphicFrameChg>
        <pc:graphicFrameChg chg="add mod">
          <ac:chgData name="Michaelsen, Børje" userId="c36523e3-11ed-4011-9a41-1983019c0634" providerId="ADAL" clId="{50C07F04-D920-4D01-A20B-D11D454E0958}" dt="2024-08-06T06:47:08.873" v="286" actId="14100"/>
          <ac:graphicFrameMkLst>
            <pc:docMk/>
            <pc:sldMk cId="990372706" sldId="289"/>
            <ac:graphicFrameMk id="8" creationId="{00000000-0008-0000-0200-000002000000}"/>
          </ac:graphicFrameMkLst>
        </pc:graphicFrameChg>
        <pc:graphicFrameChg chg="add mod">
          <ac:chgData name="Michaelsen, Børje" userId="c36523e3-11ed-4011-9a41-1983019c0634" providerId="ADAL" clId="{50C07F04-D920-4D01-A20B-D11D454E0958}" dt="2024-08-06T06:47:47.465" v="292" actId="1076"/>
          <ac:graphicFrameMkLst>
            <pc:docMk/>
            <pc:sldMk cId="990372706" sldId="289"/>
            <ac:graphicFrameMk id="9" creationId="{028D2252-F4B0-498F-AA99-FB6CF217ADD0}"/>
          </ac:graphicFrameMkLst>
        </pc:graphicFrameChg>
        <pc:graphicFrameChg chg="add mod">
          <ac:chgData name="Michaelsen, Børje" userId="c36523e3-11ed-4011-9a41-1983019c0634" providerId="ADAL" clId="{50C07F04-D920-4D01-A20B-D11D454E0958}" dt="2024-08-06T06:47:43.537" v="291" actId="1076"/>
          <ac:graphicFrameMkLst>
            <pc:docMk/>
            <pc:sldMk cId="990372706" sldId="289"/>
            <ac:graphicFrameMk id="10" creationId="{00000000-0008-0000-0000-000002000000}"/>
          </ac:graphicFrameMkLst>
        </pc:graphicFrameChg>
      </pc:sldChg>
      <pc:sldChg chg="addSp delSp modSp mod modNotesTx">
        <pc:chgData name="Michaelsen, Børje" userId="c36523e3-11ed-4011-9a41-1983019c0634" providerId="ADAL" clId="{50C07F04-D920-4D01-A20B-D11D454E0958}" dt="2024-08-05T07:51:32.735" v="53" actId="20577"/>
        <pc:sldMkLst>
          <pc:docMk/>
          <pc:sldMk cId="559240798" sldId="1093"/>
        </pc:sldMkLst>
        <pc:picChg chg="add mod">
          <ac:chgData name="Michaelsen, Børje" userId="c36523e3-11ed-4011-9a41-1983019c0634" providerId="ADAL" clId="{50C07F04-D920-4D01-A20B-D11D454E0958}" dt="2024-08-05T07:51:18.896" v="24" actId="1037"/>
          <ac:picMkLst>
            <pc:docMk/>
            <pc:sldMk cId="559240798" sldId="1093"/>
            <ac:picMk id="2" creationId="{9ED16172-C3D5-8141-DDBA-F023E7536CAB}"/>
          </ac:picMkLst>
        </pc:picChg>
        <pc:picChg chg="add mod">
          <ac:chgData name="Michaelsen, Børje" userId="c36523e3-11ed-4011-9a41-1983019c0634" providerId="ADAL" clId="{50C07F04-D920-4D01-A20B-D11D454E0958}" dt="2024-08-05T07:51:29.335" v="51" actId="1037"/>
          <ac:picMkLst>
            <pc:docMk/>
            <pc:sldMk cId="559240798" sldId="1093"/>
            <ac:picMk id="3" creationId="{9E448481-832A-35B7-1CDD-47F0120F02E0}"/>
          </ac:picMkLst>
        </pc:picChg>
        <pc:picChg chg="add mod">
          <ac:chgData name="Michaelsen, Børje" userId="c36523e3-11ed-4011-9a41-1983019c0634" providerId="ADAL" clId="{50C07F04-D920-4D01-A20B-D11D454E0958}" dt="2024-08-05T07:51:25.348" v="42" actId="1037"/>
          <ac:picMkLst>
            <pc:docMk/>
            <pc:sldMk cId="559240798" sldId="1093"/>
            <ac:picMk id="4" creationId="{052C2109-C201-6D87-C7B9-CCF183200AAD}"/>
          </ac:picMkLst>
        </pc:picChg>
        <pc:picChg chg="del">
          <ac:chgData name="Michaelsen, Børje" userId="c36523e3-11ed-4011-9a41-1983019c0634" providerId="ADAL" clId="{50C07F04-D920-4D01-A20B-D11D454E0958}" dt="2024-08-05T07:50:55.944" v="0" actId="478"/>
          <ac:picMkLst>
            <pc:docMk/>
            <pc:sldMk cId="559240798" sldId="1093"/>
            <ac:picMk id="15" creationId="{F8E05E94-D546-4936-0171-28F363AAC3C3}"/>
          </ac:picMkLst>
        </pc:picChg>
        <pc:picChg chg="del">
          <ac:chgData name="Michaelsen, Børje" userId="c36523e3-11ed-4011-9a41-1983019c0634" providerId="ADAL" clId="{50C07F04-D920-4D01-A20B-D11D454E0958}" dt="2024-08-05T07:50:55.944" v="0" actId="478"/>
          <ac:picMkLst>
            <pc:docMk/>
            <pc:sldMk cId="559240798" sldId="1093"/>
            <ac:picMk id="16" creationId="{40DFF8E8-EA72-34A8-1FD1-27D796B733EA}"/>
          </ac:picMkLst>
        </pc:picChg>
        <pc:picChg chg="del">
          <ac:chgData name="Michaelsen, Børje" userId="c36523e3-11ed-4011-9a41-1983019c0634" providerId="ADAL" clId="{50C07F04-D920-4D01-A20B-D11D454E0958}" dt="2024-08-05T07:50:55.944" v="0" actId="478"/>
          <ac:picMkLst>
            <pc:docMk/>
            <pc:sldMk cId="559240798" sldId="1093"/>
            <ac:picMk id="17" creationId="{E23712BA-72A5-001B-A2EA-CCF35A8264FF}"/>
          </ac:picMkLst>
        </pc:picChg>
      </pc:sldChg>
    </pc:docChg>
  </pc:docChgLst>
  <pc:docChgLst>
    <pc:chgData name="Michaelsen, Børje" userId="S::borje.michaelsen@agderfk.no::c36523e3-11ed-4011-9a41-1983019c0634" providerId="AD" clId="Web-{BC89D4EA-A993-DA2E-E809-4887DE22A273}"/>
    <pc:docChg chg="modSld">
      <pc:chgData name="Michaelsen, Børje" userId="S::borje.michaelsen@agderfk.no::c36523e3-11ed-4011-9a41-1983019c0634" providerId="AD" clId="Web-{BC89D4EA-A993-DA2E-E809-4887DE22A273}" dt="2024-08-13T12:57:00.971" v="11"/>
      <pc:docMkLst>
        <pc:docMk/>
      </pc:docMkLst>
      <pc:sldChg chg="addSp delSp modSp">
        <pc:chgData name="Michaelsen, Børje" userId="S::borje.michaelsen@agderfk.no::c36523e3-11ed-4011-9a41-1983019c0634" providerId="AD" clId="Web-{BC89D4EA-A993-DA2E-E809-4887DE22A273}" dt="2024-08-13T12:57:00.971" v="11"/>
        <pc:sldMkLst>
          <pc:docMk/>
          <pc:sldMk cId="340623003" sldId="274"/>
        </pc:sldMkLst>
        <pc:spChg chg="add del mod">
          <ac:chgData name="Michaelsen, Børje" userId="S::borje.michaelsen@agderfk.no::c36523e3-11ed-4011-9a41-1983019c0634" providerId="AD" clId="Web-{BC89D4EA-A993-DA2E-E809-4887DE22A273}" dt="2024-08-13T12:56:53.706" v="10"/>
          <ac:spMkLst>
            <pc:docMk/>
            <pc:sldMk cId="340623003" sldId="274"/>
            <ac:spMk id="9" creationId="{0F62F8B3-B045-3C9E-24B4-9187A83DFBED}"/>
          </ac:spMkLst>
        </pc:spChg>
        <pc:graphicFrameChg chg="del">
          <ac:chgData name="Michaelsen, Børje" userId="S::borje.michaelsen@agderfk.no::c36523e3-11ed-4011-9a41-1983019c0634" providerId="AD" clId="Web-{BC89D4EA-A993-DA2E-E809-4887DE22A273}" dt="2024-08-13T12:55:22.156" v="0"/>
          <ac:graphicFrameMkLst>
            <pc:docMk/>
            <pc:sldMk cId="340623003" sldId="274"/>
            <ac:graphicFrameMk id="7" creationId="{00000000-0008-0000-0100-000002000000}"/>
          </ac:graphicFrameMkLst>
        </pc:graphicFrameChg>
        <pc:picChg chg="add mod">
          <ac:chgData name="Michaelsen, Børje" userId="S::borje.michaelsen@agderfk.no::c36523e3-11ed-4011-9a41-1983019c0634" providerId="AD" clId="Web-{BC89D4EA-A993-DA2E-E809-4887DE22A273}" dt="2024-08-13T12:57:00.971" v="11"/>
          <ac:picMkLst>
            <pc:docMk/>
            <pc:sldMk cId="340623003" sldId="274"/>
            <ac:picMk id="6" creationId="{305BC23D-9D7C-A93A-D3C9-3E7CDE55AE74}"/>
          </ac:picMkLst>
        </pc:picChg>
      </pc:sldChg>
    </pc:docChg>
  </pc:docChgLst>
  <pc:docChgLst>
    <pc:chgData name="Michaelsen, Børje" userId="S::borje.michaelsen@agderfk.no::c36523e3-11ed-4011-9a41-1983019c0634" providerId="AD" clId="Web-{D9ECD9CB-FFD7-98C2-6833-B4D3CA80F585}"/>
    <pc:docChg chg="modSld">
      <pc:chgData name="Michaelsen, Børje" userId="S::borje.michaelsen@agderfk.no::c36523e3-11ed-4011-9a41-1983019c0634" providerId="AD" clId="Web-{D9ECD9CB-FFD7-98C2-6833-B4D3CA80F585}" dt="2024-08-13T12:59:39.259" v="2"/>
      <pc:docMkLst>
        <pc:docMk/>
      </pc:docMkLst>
      <pc:sldChg chg="modNotes">
        <pc:chgData name="Michaelsen, Børje" userId="S::borje.michaelsen@agderfk.no::c36523e3-11ed-4011-9a41-1983019c0634" providerId="AD" clId="Web-{D9ECD9CB-FFD7-98C2-6833-B4D3CA80F585}" dt="2024-08-13T12:59:39.259" v="2"/>
        <pc:sldMkLst>
          <pc:docMk/>
          <pc:sldMk cId="340623003" sldId="274"/>
        </pc:sldMkLst>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DC8383EE-1F39-4596-ADEC-6C914FA21851}"/>
    <pc:docChg chg="custSel modSld">
      <pc:chgData name="Michaelsen, Børje" userId="c36523e3-11ed-4011-9a41-1983019c0634" providerId="ADAL" clId="{DC8383EE-1F39-4596-ADEC-6C914FA21851}" dt="2024-11-11T08:26:23.840" v="59" actId="6549"/>
      <pc:docMkLst>
        <pc:docMk/>
      </pc:docMkLst>
      <pc:sldChg chg="addSp delSp modSp mod">
        <pc:chgData name="Michaelsen, Børje" userId="c36523e3-11ed-4011-9a41-1983019c0634" providerId="ADAL" clId="{DC8383EE-1F39-4596-ADEC-6C914FA21851}" dt="2024-10-29T18:39:23.973" v="16" actId="14100"/>
        <pc:sldMkLst>
          <pc:docMk/>
          <pc:sldMk cId="3237931907" sldId="263"/>
        </pc:sldMkLst>
        <pc:graphicFrameChg chg="add mod">
          <ac:chgData name="Michaelsen, Børje" userId="c36523e3-11ed-4011-9a41-1983019c0634" providerId="ADAL" clId="{DC8383EE-1F39-4596-ADEC-6C914FA21851}" dt="2024-10-29T18:39:01.311" v="11" actId="1076"/>
          <ac:graphicFrameMkLst>
            <pc:docMk/>
            <pc:sldMk cId="3237931907" sldId="263"/>
            <ac:graphicFrameMk id="3" creationId="{900796C7-9568-AA7D-48B1-D162673FAB3E}"/>
          </ac:graphicFrameMkLst>
        </pc:graphicFrameChg>
        <pc:graphicFrameChg chg="del">
          <ac:chgData name="Michaelsen, Børje" userId="c36523e3-11ed-4011-9a41-1983019c0634" providerId="ADAL" clId="{DC8383EE-1F39-4596-ADEC-6C914FA21851}" dt="2024-10-29T18:38:55.028" v="9" actId="478"/>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DC8383EE-1F39-4596-ADEC-6C914FA21851}" dt="2024-10-29T18:39:23.973" v="16" actId="14100"/>
          <ac:graphicFrameMkLst>
            <pc:docMk/>
            <pc:sldMk cId="3237931907" sldId="263"/>
            <ac:graphicFrameMk id="5" creationId="{E5C71C2E-AF53-CAD5-0770-CF80592B48C1}"/>
          </ac:graphicFrameMkLst>
        </pc:graphicFrameChg>
        <pc:graphicFrameChg chg="del">
          <ac:chgData name="Michaelsen, Børje" userId="c36523e3-11ed-4011-9a41-1983019c0634" providerId="ADAL" clId="{DC8383EE-1F39-4596-ADEC-6C914FA21851}" dt="2024-10-29T18:39:06.236" v="12" actId="478"/>
          <ac:graphicFrameMkLst>
            <pc:docMk/>
            <pc:sldMk cId="3237931907" sldId="263"/>
            <ac:graphicFrameMk id="7" creationId="{E5C71C2E-AF53-CAD5-0770-CF80592B48C1}"/>
          </ac:graphicFrameMkLst>
        </pc:graphicFrameChg>
      </pc:sldChg>
      <pc:sldChg chg="addSp delSp modSp mod">
        <pc:chgData name="Michaelsen, Børje" userId="c36523e3-11ed-4011-9a41-1983019c0634" providerId="ADAL" clId="{DC8383EE-1F39-4596-ADEC-6C914FA21851}" dt="2024-10-29T18:41:45.807" v="24" actId="14100"/>
        <pc:sldMkLst>
          <pc:docMk/>
          <pc:sldMk cId="4110371661" sldId="275"/>
        </pc:sldMkLst>
        <pc:graphicFrameChg chg="add mod">
          <ac:chgData name="Michaelsen, Børje" userId="c36523e3-11ed-4011-9a41-1983019c0634" providerId="ADAL" clId="{DC8383EE-1F39-4596-ADEC-6C914FA21851}" dt="2024-10-29T18:41:45.807" v="24"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DC8383EE-1F39-4596-ADEC-6C914FA21851}" dt="2024-10-29T18:41:37.681" v="21"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DC8383EE-1F39-4596-ADEC-6C914FA21851}" dt="2024-10-29T18:42:15.905" v="28"/>
        <pc:sldMkLst>
          <pc:docMk/>
          <pc:sldMk cId="2721633966" sldId="277"/>
        </pc:sldMkLst>
        <pc:graphicFrameChg chg="add mod">
          <ac:chgData name="Michaelsen, Børje" userId="c36523e3-11ed-4011-9a41-1983019c0634" providerId="ADAL" clId="{DC8383EE-1F39-4596-ADEC-6C914FA21851}" dt="2024-10-29T18:42:15.905" v="28"/>
          <ac:graphicFrameMkLst>
            <pc:docMk/>
            <pc:sldMk cId="2721633966" sldId="277"/>
            <ac:graphicFrameMk id="5" creationId="{1E871170-F82D-1EDA-BE6F-558892AFB706}"/>
          </ac:graphicFrameMkLst>
        </pc:graphicFrameChg>
        <pc:graphicFrameChg chg="del">
          <ac:chgData name="Michaelsen, Børje" userId="c36523e3-11ed-4011-9a41-1983019c0634" providerId="ADAL" clId="{DC8383EE-1F39-4596-ADEC-6C914FA21851}" dt="2024-10-29T18:42:04.714" v="25" actId="47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DC8383EE-1F39-4596-ADEC-6C914FA21851}" dt="2024-10-29T18:40:55.797" v="20" actId="14100"/>
        <pc:sldMkLst>
          <pc:docMk/>
          <pc:sldMk cId="662108869" sldId="279"/>
        </pc:sldMkLst>
        <pc:graphicFrameChg chg="add mod">
          <ac:chgData name="Michaelsen, Børje" userId="c36523e3-11ed-4011-9a41-1983019c0634" providerId="ADAL" clId="{DC8383EE-1F39-4596-ADEC-6C914FA21851}" dt="2024-10-29T18:40:55.797" v="20"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DC8383EE-1F39-4596-ADEC-6C914FA21851}" dt="2024-10-29T18:40:47.620" v="17" actId="478"/>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DC8383EE-1F39-4596-ADEC-6C914FA21851}" dt="2024-10-29T18:38:32.759" v="8" actId="14100"/>
        <pc:sldMkLst>
          <pc:docMk/>
          <pc:sldMk cId="2938880870" sldId="288"/>
        </pc:sldMkLst>
        <pc:spChg chg="mod">
          <ac:chgData name="Michaelsen, Børje" userId="c36523e3-11ed-4011-9a41-1983019c0634" providerId="ADAL" clId="{DC8383EE-1F39-4596-ADEC-6C914FA21851}" dt="2024-10-29T18:37:51.046" v="3" actId="1076"/>
          <ac:spMkLst>
            <pc:docMk/>
            <pc:sldMk cId="2938880870" sldId="288"/>
            <ac:spMk id="5" creationId="{72C38B41-131A-AFC1-9683-784948204578}"/>
          </ac:spMkLst>
        </pc:spChg>
        <pc:graphicFrameChg chg="add mod">
          <ac:chgData name="Michaelsen, Børje" userId="c36523e3-11ed-4011-9a41-1983019c0634" providerId="ADAL" clId="{DC8383EE-1F39-4596-ADEC-6C914FA21851}" dt="2024-10-29T18:37:56.726" v="4" actId="1076"/>
          <ac:graphicFrameMkLst>
            <pc:docMk/>
            <pc:sldMk cId="2938880870" sldId="288"/>
            <ac:graphicFrameMk id="3" creationId="{00000000-0008-0000-0100-000002000000}"/>
          </ac:graphicFrameMkLst>
        </pc:graphicFrameChg>
        <pc:graphicFrameChg chg="add mod">
          <ac:chgData name="Michaelsen, Børje" userId="c36523e3-11ed-4011-9a41-1983019c0634" providerId="ADAL" clId="{DC8383EE-1F39-4596-ADEC-6C914FA21851}" dt="2024-10-29T18:38:32.759" v="8" actId="14100"/>
          <ac:graphicFrameMkLst>
            <pc:docMk/>
            <pc:sldMk cId="2938880870" sldId="288"/>
            <ac:graphicFrameMk id="4" creationId="{00000000-0008-0000-0300-000003000000}"/>
          </ac:graphicFrameMkLst>
        </pc:graphicFrameChg>
        <pc:graphicFrameChg chg="del">
          <ac:chgData name="Michaelsen, Børje" userId="c36523e3-11ed-4011-9a41-1983019c0634" providerId="ADAL" clId="{DC8383EE-1F39-4596-ADEC-6C914FA21851}" dt="2024-10-29T18:37:38.970" v="0" actId="478"/>
          <ac:graphicFrameMkLst>
            <pc:docMk/>
            <pc:sldMk cId="2938880870" sldId="288"/>
            <ac:graphicFrameMk id="8" creationId="{00000000-0008-0000-0100-000002000000}"/>
          </ac:graphicFrameMkLst>
        </pc:graphicFrameChg>
        <pc:graphicFrameChg chg="del">
          <ac:chgData name="Michaelsen, Børje" userId="c36523e3-11ed-4011-9a41-1983019c0634" providerId="ADAL" clId="{DC8383EE-1F39-4596-ADEC-6C914FA21851}" dt="2024-10-29T18:38:21.157" v="5" actId="478"/>
          <ac:graphicFrameMkLst>
            <pc:docMk/>
            <pc:sldMk cId="2938880870" sldId="288"/>
            <ac:graphicFrameMk id="9" creationId="{00000000-0008-0000-0300-000003000000}"/>
          </ac:graphicFrameMkLst>
        </pc:graphicFrameChg>
      </pc:sldChg>
      <pc:sldChg chg="addSp delSp modSp mod modNotesTx">
        <pc:chgData name="Michaelsen, Børje" userId="c36523e3-11ed-4011-9a41-1983019c0634" providerId="ADAL" clId="{DC8383EE-1F39-4596-ADEC-6C914FA21851}" dt="2024-11-11T08:26:23.840" v="59" actId="6549"/>
        <pc:sldMkLst>
          <pc:docMk/>
          <pc:sldMk cId="1557024307" sldId="290"/>
        </pc:sldMkLst>
        <pc:spChg chg="mod">
          <ac:chgData name="Michaelsen, Børje" userId="c36523e3-11ed-4011-9a41-1983019c0634" providerId="ADAL" clId="{DC8383EE-1F39-4596-ADEC-6C914FA21851}" dt="2024-11-11T08:25:52.715" v="56" actId="20577"/>
          <ac:spMkLst>
            <pc:docMk/>
            <pc:sldMk cId="1557024307" sldId="290"/>
            <ac:spMk id="12" creationId="{00000000-0000-0000-0000-000000000000}"/>
          </ac:spMkLst>
        </pc:spChg>
        <pc:graphicFrameChg chg="del">
          <ac:chgData name="Michaelsen, Børje" userId="c36523e3-11ed-4011-9a41-1983019c0634" providerId="ADAL" clId="{DC8383EE-1F39-4596-ADEC-6C914FA21851}" dt="2024-11-11T08:22:54.204" v="29" actId="478"/>
          <ac:graphicFrameMkLst>
            <pc:docMk/>
            <pc:sldMk cId="1557024307" sldId="290"/>
            <ac:graphicFrameMk id="2" creationId="{A2828B79-FC1F-CAD7-0E1E-06FB7EDB49F0}"/>
          </ac:graphicFrameMkLst>
        </pc:graphicFrameChg>
        <pc:graphicFrameChg chg="add mod">
          <ac:chgData name="Michaelsen, Børje" userId="c36523e3-11ed-4011-9a41-1983019c0634" providerId="ADAL" clId="{DC8383EE-1F39-4596-ADEC-6C914FA21851}" dt="2024-11-11T08:23:54.783" v="32"/>
          <ac:graphicFrameMkLst>
            <pc:docMk/>
            <pc:sldMk cId="1557024307" sldId="290"/>
            <ac:graphicFrameMk id="4" creationId="{8E44FFB8-1F8F-A867-D0FF-B96BB286E5D3}"/>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embeddings/oleObject7.bin"/></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15</c:v>
                </c:pt>
                <c:pt idx="1">
                  <c:v>8</c:v>
                </c:pt>
                <c:pt idx="2">
                  <c:v>13</c:v>
                </c:pt>
                <c:pt idx="3">
                  <c:v>20</c:v>
                </c:pt>
                <c:pt idx="4">
                  <c:v>17</c:v>
                </c:pt>
                <c:pt idx="5">
                  <c:v>14</c:v>
                </c:pt>
              </c:numCache>
            </c:numRef>
          </c:val>
          <c:extLst>
            <c:ext xmlns:c16="http://schemas.microsoft.com/office/drawing/2014/chart" uri="{C3380CC4-5D6E-409C-BE32-E72D297353CC}">
              <c16:uniqueId val="{00000000-49F0-46DC-8B73-A59790A0179F}"/>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2</c:v>
                </c:pt>
                <c:pt idx="1">
                  <c:v>0</c:v>
                </c:pt>
                <c:pt idx="2">
                  <c:v>1</c:v>
                </c:pt>
                <c:pt idx="3">
                  <c:v>23</c:v>
                </c:pt>
                <c:pt idx="4">
                  <c:v>11</c:v>
                </c:pt>
                <c:pt idx="5">
                  <c:v>22</c:v>
                </c:pt>
              </c:numCache>
            </c:numRef>
          </c:val>
          <c:extLst>
            <c:ext xmlns:c16="http://schemas.microsoft.com/office/drawing/2014/chart" uri="{C3380CC4-5D6E-409C-BE32-E72D297353CC}">
              <c16:uniqueId val="{00000001-49F0-46DC-8B73-A59790A0179F}"/>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4</c:v>
                </c:pt>
                <c:pt idx="1">
                  <c:v>0</c:v>
                </c:pt>
                <c:pt idx="2">
                  <c:v>30</c:v>
                </c:pt>
                <c:pt idx="3">
                  <c:v>0</c:v>
                </c:pt>
                <c:pt idx="4">
                  <c:v>12</c:v>
                </c:pt>
                <c:pt idx="5">
                  <c:v>0</c:v>
                </c:pt>
              </c:numCache>
            </c:numRef>
          </c:val>
          <c:extLst>
            <c:ext xmlns:c16="http://schemas.microsoft.com/office/drawing/2014/chart" uri="{C3380CC4-5D6E-409C-BE32-E72D297353CC}">
              <c16:uniqueId val="{00000002-49F0-46DC-8B73-A59790A0179F}"/>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9F0-46DC-8B73-A59790A0179F}"/>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9F0-46DC-8B73-A59790A0179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3</c:v>
                </c:pt>
                <c:pt idx="1">
                  <c:v>0</c:v>
                </c:pt>
                <c:pt idx="2">
                  <c:v>0</c:v>
                </c:pt>
                <c:pt idx="3">
                  <c:v>0</c:v>
                </c:pt>
                <c:pt idx="4">
                  <c:v>0</c:v>
                </c:pt>
                <c:pt idx="5">
                  <c:v>6</c:v>
                </c:pt>
              </c:numCache>
            </c:numRef>
          </c:val>
          <c:extLst>
            <c:ext xmlns:c16="http://schemas.microsoft.com/office/drawing/2014/chart" uri="{C3380CC4-5D6E-409C-BE32-E72D297353CC}">
              <c16:uniqueId val="{00000005-49F0-46DC-8B73-A59790A0179F}"/>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74.8</c:v>
                </c:pt>
                <c:pt idx="1">
                  <c:v>78.900000000000006</c:v>
                </c:pt>
                <c:pt idx="2">
                  <c:v>58.7</c:v>
                </c:pt>
                <c:pt idx="3">
                  <c:v>58.6</c:v>
                </c:pt>
              </c:numCache>
            </c:numRef>
          </c:val>
          <c:extLst>
            <c:ext xmlns:c16="http://schemas.microsoft.com/office/drawing/2014/chart" uri="{C3380CC4-5D6E-409C-BE32-E72D297353CC}">
              <c16:uniqueId val="{00000000-0F35-4482-AB5F-F4AA20CE1E0E}"/>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75.900000000000006</c:v>
                </c:pt>
                <c:pt idx="1">
                  <c:v>81</c:v>
                </c:pt>
                <c:pt idx="2">
                  <c:v>61.3</c:v>
                </c:pt>
                <c:pt idx="3">
                  <c:v>70.900000000000006</c:v>
                </c:pt>
              </c:numCache>
            </c:numRef>
          </c:val>
          <c:extLst>
            <c:ext xmlns:c16="http://schemas.microsoft.com/office/drawing/2014/chart" uri="{C3380CC4-5D6E-409C-BE32-E72D297353CC}">
              <c16:uniqueId val="{00000001-0F35-4482-AB5F-F4AA20CE1E0E}"/>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75.099999999999994</c:v>
                </c:pt>
                <c:pt idx="1">
                  <c:v>80.8</c:v>
                </c:pt>
                <c:pt idx="2">
                  <c:v>54</c:v>
                </c:pt>
                <c:pt idx="3">
                  <c:v>63.6</c:v>
                </c:pt>
              </c:numCache>
            </c:numRef>
          </c:val>
          <c:extLst>
            <c:ext xmlns:c16="http://schemas.microsoft.com/office/drawing/2014/chart" uri="{C3380CC4-5D6E-409C-BE32-E72D297353CC}">
              <c16:uniqueId val="{00000002-0F35-4482-AB5F-F4AA20CE1E0E}"/>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74.7</c:v>
                </c:pt>
                <c:pt idx="1">
                  <c:v>80.5</c:v>
                </c:pt>
                <c:pt idx="2">
                  <c:v>54.8</c:v>
                </c:pt>
                <c:pt idx="3">
                  <c:v>57.2</c:v>
                </c:pt>
              </c:numCache>
            </c:numRef>
          </c:val>
          <c:extLst>
            <c:ext xmlns:c16="http://schemas.microsoft.com/office/drawing/2014/chart" uri="{C3380CC4-5D6E-409C-BE32-E72D297353CC}">
              <c16:uniqueId val="{00000003-0F35-4482-AB5F-F4AA20CE1E0E}"/>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3"/>
          </a:solidFill>
          <a:ln>
            <a:noFill/>
          </a:ln>
          <a:effectLst/>
        </c:spPr>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3"/>
          </a:solidFill>
          <a:ln>
            <a:noFill/>
          </a:ln>
          <a:effectLst/>
        </c:spPr>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3"/>
          </a:solidFill>
          <a:ln>
            <a:noFill/>
          </a:ln>
          <a:effectLst/>
        </c:spPr>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3"/>
          </a:solidFill>
          <a:ln>
            <a:noFill/>
          </a:ln>
          <a:effectLst/>
        </c:spPr>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3"/>
          </a:solidFill>
          <a:ln>
            <a:noFill/>
          </a:ln>
          <a:effectLst/>
        </c:spPr>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3"/>
          </a:solidFill>
          <a:ln>
            <a:noFill/>
          </a:ln>
          <a:effectLst/>
        </c:spPr>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3"/>
          </a:solidFill>
          <a:ln>
            <a:noFill/>
          </a:ln>
          <a:effectLst/>
        </c:spPr>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3"/>
          </a:solidFill>
          <a:ln>
            <a:noFill/>
          </a:ln>
          <a:effectLst/>
        </c:spPr>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3"/>
          </a:solidFill>
          <a:ln>
            <a:noFill/>
          </a:ln>
          <a:effectLst/>
        </c:spPr>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3"/>
          </a:solidFill>
          <a:ln>
            <a:noFill/>
          </a:ln>
          <a:effectLst/>
        </c:spPr>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3"/>
          </a:solidFill>
          <a:ln>
            <a:noFill/>
          </a:ln>
          <a:effectLst/>
        </c:spPr>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3"/>
        <c:spPr>
          <a:solidFill>
            <a:schemeClr val="accent3"/>
          </a:solidFill>
          <a:ln>
            <a:noFill/>
          </a:ln>
          <a:effectLst/>
        </c:spPr>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3"/>
        <c:spPr>
          <a:solidFill>
            <a:schemeClr val="accent3"/>
          </a:solidFill>
          <a:ln>
            <a:noFill/>
          </a:ln>
          <a:effectLst/>
        </c:spPr>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4"/>
        <c:spPr>
          <a:solidFill>
            <a:schemeClr val="accent3"/>
          </a:solidFill>
          <a:ln>
            <a:noFill/>
          </a:ln>
          <a:effectLst/>
        </c:spPr>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5"/>
        <c:spPr>
          <a:solidFill>
            <a:schemeClr val="accent3"/>
          </a:solidFill>
          <a:ln>
            <a:noFill/>
          </a:ln>
          <a:effectLst/>
        </c:spPr>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6"/>
        <c:spPr>
          <a:solidFill>
            <a:schemeClr val="accent3"/>
          </a:solidFill>
          <a:ln>
            <a:noFill/>
          </a:ln>
          <a:effectLst/>
        </c:spPr>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E892-4428-969E-E23EDE1D7C3E}"/>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E892-4428-969E-E23EDE1D7C3E}"/>
            </c:ext>
          </c:extLst>
        </c:ser>
        <c:ser>
          <c:idx val="2"/>
          <c:order val="2"/>
          <c:tx>
            <c:strRef>
              <c:f>Pivot_2022!$D$3:$D$4</c:f>
              <c:strCache>
                <c:ptCount val="1"/>
                <c:pt idx="0">
                  <c:v>Flekkefjord</c:v>
                </c:pt>
              </c:strCache>
            </c:strRef>
          </c:tx>
          <c:spPr>
            <a:solidFill>
              <a:schemeClr val="accent3"/>
            </a:solidFill>
            <a:ln>
              <a:noFill/>
            </a:ln>
            <a:effectLst/>
          </c:spPr>
          <c:invertIfNegative val="0"/>
          <c:dLbls>
            <c:dLbl>
              <c:idx val="0"/>
              <c:layout>
                <c:manualLayout>
                  <c:x val="1.0627798015889308E-2"/>
                  <c:y val="-5.979490162846972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892-4428-969E-E23EDE1D7C3E}"/>
                </c:ext>
              </c:extLst>
            </c:dLbl>
            <c:dLbl>
              <c:idx val="1"/>
              <c:layout>
                <c:manualLayout>
                  <c:x val="1.0627798015889308E-2"/>
                  <c:y val="-6.52315553283009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892-4428-969E-E23EDE1D7C3E}"/>
                </c:ext>
              </c:extLst>
            </c:dLbl>
            <c:dLbl>
              <c:idx val="2"/>
              <c:layout>
                <c:manualLayout>
                  <c:x val="7.5912842970638104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892-4428-969E-E23EDE1D7C3E}"/>
                </c:ext>
              </c:extLst>
            </c:dLbl>
            <c:dLbl>
              <c:idx val="3"/>
              <c:layout>
                <c:manualLayout>
                  <c:x val="9.10954115647651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92-4428-969E-E23EDE1D7C3E}"/>
                </c:ext>
              </c:extLst>
            </c:dLbl>
            <c:dLbl>
              <c:idx val="4"/>
              <c:layout>
                <c:manualLayout>
                  <c:x val="1.3664311734714916E-2"/>
                  <c:y val="-5.979490162846972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892-4428-969E-E23EDE1D7C3E}"/>
                </c:ext>
              </c:extLst>
            </c:dLbl>
            <c:dLbl>
              <c:idx val="5"/>
              <c:layout>
                <c:manualLayout>
                  <c:x val="1.6700825453540385E-2"/>
                  <c:y val="-5.979490162846972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892-4428-969E-E23EDE1D7C3E}"/>
                </c:ext>
              </c:extLst>
            </c:dLbl>
            <c:dLbl>
              <c:idx val="6"/>
              <c:layout>
                <c:manualLayout>
                  <c:x val="9.109541156476573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892-4428-969E-E23EDE1D7C3E}"/>
                </c:ext>
              </c:extLst>
            </c:dLbl>
            <c:dLbl>
              <c:idx val="7"/>
              <c:layout>
                <c:manualLayout>
                  <c:x val="1.366431173471485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892-4428-969E-E23EDE1D7C3E}"/>
                </c:ext>
              </c:extLst>
            </c:dLbl>
            <c:dLbl>
              <c:idx val="8"/>
              <c:layout>
                <c:manualLayout>
                  <c:x val="1.518256859412762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892-4428-969E-E23EDE1D7C3E}"/>
                </c:ext>
              </c:extLst>
            </c:dLbl>
            <c:dLbl>
              <c:idx val="9"/>
              <c:layout>
                <c:manualLayout>
                  <c:x val="1.366431173471463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892-4428-969E-E23EDE1D7C3E}"/>
                </c:ext>
              </c:extLst>
            </c:dLbl>
            <c:dLbl>
              <c:idx val="10"/>
              <c:layout>
                <c:manualLayout>
                  <c:x val="1.6122531237404272E-2"/>
                  <c:y val="-1.4312291034916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892-4428-969E-E23EDE1D7C3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7.2000000000000008E-2</c:v>
                </c:pt>
                <c:pt idx="1">
                  <c:v>7.5999999999999998E-2</c:v>
                </c:pt>
                <c:pt idx="2">
                  <c:v>7.400000000000001E-2</c:v>
                </c:pt>
                <c:pt idx="3">
                  <c:v>7.2999999999999995E-2</c:v>
                </c:pt>
                <c:pt idx="4">
                  <c:v>7.8E-2</c:v>
                </c:pt>
                <c:pt idx="5">
                  <c:v>8.3000000000000004E-2</c:v>
                </c:pt>
                <c:pt idx="6">
                  <c:v>9.3000000000000013E-2</c:v>
                </c:pt>
                <c:pt idx="7">
                  <c:v>9.9000000000000005E-2</c:v>
                </c:pt>
                <c:pt idx="8">
                  <c:v>0.10099999999999999</c:v>
                </c:pt>
                <c:pt idx="9">
                  <c:v>0.10099999999999999</c:v>
                </c:pt>
                <c:pt idx="10">
                  <c:v>9.4E-2</c:v>
                </c:pt>
              </c:numCache>
            </c:numRef>
          </c:val>
          <c:extLst>
            <c:ext xmlns:c16="http://schemas.microsoft.com/office/drawing/2014/chart" uri="{C3380CC4-5D6E-409C-BE32-E72D297353CC}">
              <c16:uniqueId val="{0000000C-E892-4428-969E-E23EDE1D7C3E}"/>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6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122</c:v>
                </c:pt>
                <c:pt idx="1">
                  <c:v>124</c:v>
                </c:pt>
                <c:pt idx="2">
                  <c:v>98</c:v>
                </c:pt>
                <c:pt idx="3">
                  <c:v>112</c:v>
                </c:pt>
                <c:pt idx="4">
                  <c:v>94</c:v>
                </c:pt>
                <c:pt idx="5">
                  <c:v>102</c:v>
                </c:pt>
                <c:pt idx="6">
                  <c:v>102</c:v>
                </c:pt>
                <c:pt idx="7">
                  <c:v>107</c:v>
                </c:pt>
                <c:pt idx="8">
                  <c:v>100</c:v>
                </c:pt>
                <c:pt idx="9">
                  <c:v>112</c:v>
                </c:pt>
                <c:pt idx="10">
                  <c:v>109</c:v>
                </c:pt>
                <c:pt idx="11">
                  <c:v>104</c:v>
                </c:pt>
                <c:pt idx="12">
                  <c:v>122</c:v>
                </c:pt>
                <c:pt idx="13">
                  <c:v>117</c:v>
                </c:pt>
                <c:pt idx="14">
                  <c:v>118</c:v>
                </c:pt>
                <c:pt idx="15">
                  <c:v>94</c:v>
                </c:pt>
                <c:pt idx="16">
                  <c:v>132</c:v>
                </c:pt>
                <c:pt idx="17">
                  <c:v>108</c:v>
                </c:pt>
                <c:pt idx="18">
                  <c:v>94</c:v>
                </c:pt>
                <c:pt idx="19">
                  <c:v>99</c:v>
                </c:pt>
                <c:pt idx="20">
                  <c:v>92</c:v>
                </c:pt>
                <c:pt idx="21">
                  <c:v>91</c:v>
                </c:pt>
              </c:numCache>
            </c:numRef>
          </c:val>
          <c:smooth val="0"/>
          <c:extLst>
            <c:ext xmlns:c16="http://schemas.microsoft.com/office/drawing/2014/chart" uri="{C3380CC4-5D6E-409C-BE32-E72D297353CC}">
              <c16:uniqueId val="{00000000-E2F6-47F9-95D8-BD98024DB6CA}"/>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4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49</c:v>
                </c:pt>
                <c:pt idx="1">
                  <c:v>64</c:v>
                </c:pt>
                <c:pt idx="2">
                  <c:v>35</c:v>
                </c:pt>
                <c:pt idx="3">
                  <c:v>69</c:v>
                </c:pt>
                <c:pt idx="4">
                  <c:v>56</c:v>
                </c:pt>
                <c:pt idx="5">
                  <c:v>78</c:v>
                </c:pt>
                <c:pt idx="6">
                  <c:v>74</c:v>
                </c:pt>
                <c:pt idx="7">
                  <c:v>77</c:v>
                </c:pt>
                <c:pt idx="8">
                  <c:v>77</c:v>
                </c:pt>
                <c:pt idx="9">
                  <c:v>77</c:v>
                </c:pt>
                <c:pt idx="10">
                  <c:v>81</c:v>
                </c:pt>
                <c:pt idx="11">
                  <c:v>78</c:v>
                </c:pt>
                <c:pt idx="12">
                  <c:v>82</c:v>
                </c:pt>
                <c:pt idx="13">
                  <c:v>86</c:v>
                </c:pt>
                <c:pt idx="14">
                  <c:v>79</c:v>
                </c:pt>
                <c:pt idx="15">
                  <c:v>81</c:v>
                </c:pt>
                <c:pt idx="16">
                  <c:v>89</c:v>
                </c:pt>
                <c:pt idx="17">
                  <c:v>66.7</c:v>
                </c:pt>
                <c:pt idx="18">
                  <c:v>58</c:v>
                </c:pt>
                <c:pt idx="19">
                  <c:v>77</c:v>
                </c:pt>
                <c:pt idx="20">
                  <c:v>74</c:v>
                </c:pt>
              </c:numCache>
            </c:numRef>
          </c:val>
          <c:extLst>
            <c:ext xmlns:c16="http://schemas.microsoft.com/office/drawing/2014/chart" uri="{C3380CC4-5D6E-409C-BE32-E72D297353CC}">
              <c16:uniqueId val="{00000000-055B-45E6-B03A-EE89929864C4}"/>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4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1.7</c:v>
                </c:pt>
                <c:pt idx="1">
                  <c:v>1.8</c:v>
                </c:pt>
                <c:pt idx="2">
                  <c:v>2.8</c:v>
                </c:pt>
                <c:pt idx="3">
                  <c:v>1.3</c:v>
                </c:pt>
                <c:pt idx="4">
                  <c:v>0.9</c:v>
                </c:pt>
                <c:pt idx="5">
                  <c:v>0.58536585365853655</c:v>
                </c:pt>
                <c:pt idx="6">
                  <c:v>0.7857142857142857</c:v>
                </c:pt>
                <c:pt idx="7">
                  <c:v>1.0701754385964912</c:v>
                </c:pt>
                <c:pt idx="8">
                  <c:v>0.546875</c:v>
                </c:pt>
                <c:pt idx="9">
                  <c:v>0.87912087912087911</c:v>
                </c:pt>
                <c:pt idx="10">
                  <c:v>0.7</c:v>
                </c:pt>
                <c:pt idx="11">
                  <c:v>0.7</c:v>
                </c:pt>
                <c:pt idx="12">
                  <c:v>0.5</c:v>
                </c:pt>
                <c:pt idx="13">
                  <c:v>0.4</c:v>
                </c:pt>
                <c:pt idx="14">
                  <c:v>0.6</c:v>
                </c:pt>
                <c:pt idx="15">
                  <c:v>0.8</c:v>
                </c:pt>
                <c:pt idx="16">
                  <c:v>0.4</c:v>
                </c:pt>
                <c:pt idx="17">
                  <c:v>0.7</c:v>
                </c:pt>
                <c:pt idx="18">
                  <c:v>1.9</c:v>
                </c:pt>
                <c:pt idx="19">
                  <c:v>0.6</c:v>
                </c:pt>
                <c:pt idx="20">
                  <c:v>1.5</c:v>
                </c:pt>
              </c:numCache>
            </c:numRef>
          </c:val>
          <c:extLst>
            <c:ext xmlns:c16="http://schemas.microsoft.com/office/drawing/2014/chart" uri="{C3380CC4-5D6E-409C-BE32-E72D297353CC}">
              <c16:uniqueId val="{00000000-3D03-4C05-960F-9F4A3A8D551F}"/>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61"/>
  </c:pivotSource>
  <c:chart>
    <c:title>
      <c:tx>
        <c:strRef>
          <c:f>'4. Pivot'!$B$2</c:f>
          <c:strCache>
            <c:ptCount val="1"/>
            <c:pt idx="0">
              <c:v>Flekkefjord</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52628.547995934139</c:v>
                </c:pt>
                <c:pt idx="1">
                  <c:v>54045.750177892362</c:v>
                </c:pt>
                <c:pt idx="2">
                  <c:v>55462.952359850577</c:v>
                </c:pt>
                <c:pt idx="3">
                  <c:v>55315.402790485954</c:v>
                </c:pt>
                <c:pt idx="4">
                  <c:v>55167.853221121339</c:v>
                </c:pt>
                <c:pt idx="5">
                  <c:v>54829.607970411394</c:v>
                </c:pt>
                <c:pt idx="6">
                  <c:v>54491.362719701443</c:v>
                </c:pt>
                <c:pt idx="7">
                  <c:v>49769.692384291571</c:v>
                </c:pt>
                <c:pt idx="8">
                  <c:v>50883.538843969196</c:v>
                </c:pt>
                <c:pt idx="9">
                  <c:v>56945.887130420684</c:v>
                </c:pt>
                <c:pt idx="10">
                  <c:v>55763.950047609971</c:v>
                </c:pt>
                <c:pt idx="11">
                  <c:v>55673.282644406332</c:v>
                </c:pt>
                <c:pt idx="12">
                  <c:v>53905.780238894025</c:v>
                </c:pt>
                <c:pt idx="13">
                  <c:v>53668.977869251379</c:v>
                </c:pt>
              </c:numCache>
            </c:numRef>
          </c:val>
          <c:smooth val="0"/>
          <c:extLst>
            <c:ext xmlns:c16="http://schemas.microsoft.com/office/drawing/2014/chart" uri="{C3380CC4-5D6E-409C-BE32-E72D297353CC}">
              <c16:uniqueId val="{00000000-9CF0-44E8-9ACB-A0DADB96D594}"/>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53668.977869251379</c:v>
                </c:pt>
                <c:pt idx="14" formatCode="#,##0">
                  <c:v>49886.484540071957</c:v>
                </c:pt>
                <c:pt idx="15" formatCode="#,##0">
                  <c:v>48589.2959512909</c:v>
                </c:pt>
                <c:pt idx="16" formatCode="#,##0">
                  <c:v>47002.875534430335</c:v>
                </c:pt>
                <c:pt idx="17" formatCode="#,##0">
                  <c:v>46070.102603267587</c:v>
                </c:pt>
                <c:pt idx="18" formatCode="#,##0">
                  <c:v>44772.914014486531</c:v>
                </c:pt>
                <c:pt idx="19" formatCode="#,##0">
                  <c:v>43589.725511243065</c:v>
                </c:pt>
                <c:pt idx="20" formatCode="#,##0">
                  <c:v>43225.899097723021</c:v>
                </c:pt>
                <c:pt idx="21" formatCode="#,##0">
                  <c:v>41928.710508941964</c:v>
                </c:pt>
              </c:numCache>
            </c:numRef>
          </c:val>
          <c:smooth val="0"/>
          <c:extLst>
            <c:ext xmlns:c16="http://schemas.microsoft.com/office/drawing/2014/chart" uri="{C3380CC4-5D6E-409C-BE32-E72D297353CC}">
              <c16:uniqueId val="{00000001-9CF0-44E8-9ACB-A0DADB96D594}"/>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754E-41FE-8AEB-8F56E3F4B4A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2.4795381847234361E-2</c:v>
                </c:pt>
                <c:pt idx="1">
                  <c:v>0</c:v>
                </c:pt>
                <c:pt idx="2" formatCode="###0.000\ %_ ;_*\-###0.000\ %_ ;_*&quot;-&quot;">
                  <c:v>0</c:v>
                </c:pt>
                <c:pt idx="3">
                  <c:v>0.9021551484100907</c:v>
                </c:pt>
                <c:pt idx="4">
                  <c:v>0.91898251912883222</c:v>
                </c:pt>
                <c:pt idx="5">
                  <c:v>0.44437336142076905</c:v>
                </c:pt>
              </c:numCache>
            </c:numRef>
          </c:val>
          <c:extLst>
            <c:ext xmlns:c16="http://schemas.microsoft.com/office/drawing/2014/chart" uri="{C3380CC4-5D6E-409C-BE32-E72D297353CC}">
              <c16:uniqueId val="{00000001-754E-41FE-8AEB-8F56E3F4B4A4}"/>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754E-41FE-8AEB-8F56E3F4B4A4}"/>
                </c:ext>
              </c:extLst>
            </c:dLbl>
            <c:dLbl>
              <c:idx val="2"/>
              <c:delete val="1"/>
              <c:extLst>
                <c:ext xmlns:c15="http://schemas.microsoft.com/office/drawing/2012/chart" uri="{CE6537A1-D6FC-4f65-9D91-7224C49458BB}"/>
                <c:ext xmlns:c16="http://schemas.microsoft.com/office/drawing/2014/chart" uri="{C3380CC4-5D6E-409C-BE32-E72D297353CC}">
                  <c16:uniqueId val="{00000003-754E-41FE-8AEB-8F56E3F4B4A4}"/>
                </c:ext>
              </c:extLst>
            </c:dLbl>
            <c:dLbl>
              <c:idx val="3"/>
              <c:delete val="1"/>
              <c:extLst>
                <c:ext xmlns:c15="http://schemas.microsoft.com/office/drawing/2012/chart" uri="{CE6537A1-D6FC-4f65-9D91-7224C49458BB}"/>
                <c:ext xmlns:c16="http://schemas.microsoft.com/office/drawing/2014/chart" uri="{C3380CC4-5D6E-409C-BE32-E72D297353CC}">
                  <c16:uniqueId val="{00000004-754E-41FE-8AEB-8F56E3F4B4A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989614288383677</c:v>
                </c:pt>
                <c:pt idx="1">
                  <c:v>0</c:v>
                </c:pt>
                <c:pt idx="2">
                  <c:v>0</c:v>
                </c:pt>
                <c:pt idx="3">
                  <c:v>0</c:v>
                </c:pt>
                <c:pt idx="4">
                  <c:v>7.868930656695701E-2</c:v>
                </c:pt>
                <c:pt idx="5">
                  <c:v>6.7935362622954673E-2</c:v>
                </c:pt>
              </c:numCache>
            </c:numRef>
          </c:val>
          <c:extLst>
            <c:ext xmlns:c16="http://schemas.microsoft.com/office/drawing/2014/chart" uri="{C3380CC4-5D6E-409C-BE32-E72D297353CC}">
              <c16:uniqueId val="{00000005-754E-41FE-8AEB-8F56E3F4B4A4}"/>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7-754E-41FE-8AEB-8F56E3F4B4A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530847526892894</c:v>
                </c:pt>
                <c:pt idx="1">
                  <c:v>1</c:v>
                </c:pt>
                <c:pt idx="2">
                  <c:v>1</c:v>
                </c:pt>
                <c:pt idx="3">
                  <c:v>9.7844851589909229E-2</c:v>
                </c:pt>
                <c:pt idx="4">
                  <c:v>2.3281743042108567E-3</c:v>
                </c:pt>
                <c:pt idx="5">
                  <c:v>0.48769127595627632</c:v>
                </c:pt>
              </c:numCache>
            </c:numRef>
          </c:val>
          <c:extLst>
            <c:ext xmlns:c16="http://schemas.microsoft.com/office/drawing/2014/chart" uri="{C3380CC4-5D6E-409C-BE32-E72D297353CC}">
              <c16:uniqueId val="{00000006-754E-41FE-8AEB-8F56E3F4B4A4}"/>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Flekkefjor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6</c:v>
                </c:pt>
                <c:pt idx="1">
                  <c:v>7</c:v>
                </c:pt>
                <c:pt idx="2">
                  <c:v>1</c:v>
                </c:pt>
                <c:pt idx="3">
                  <c:v>72</c:v>
                </c:pt>
                <c:pt idx="4">
                  <c:v>8</c:v>
                </c:pt>
                <c:pt idx="5">
                  <c:v>6</c:v>
                </c:pt>
              </c:numCache>
            </c:numRef>
          </c:val>
          <c:extLst>
            <c:ext xmlns:c16="http://schemas.microsoft.com/office/drawing/2014/chart" uri="{C3380CC4-5D6E-409C-BE32-E72D297353CC}">
              <c16:uniqueId val="{00000000-9523-4A7A-92BA-0C7E61E64EB8}"/>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9523-4A7A-92BA-0C7E61E64EB8}"/>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90</c:v>
                </c:pt>
                <c:pt idx="1">
                  <c:v>87</c:v>
                </c:pt>
                <c:pt idx="2">
                  <c:v>100</c:v>
                </c:pt>
                <c:pt idx="3">
                  <c:v>111</c:v>
                </c:pt>
                <c:pt idx="4">
                  <c:v>107</c:v>
                </c:pt>
                <c:pt idx="5">
                  <c:v>111</c:v>
                </c:pt>
              </c:numCache>
            </c:numRef>
          </c:val>
          <c:extLst>
            <c:ext xmlns:c16="http://schemas.microsoft.com/office/drawing/2014/chart" uri="{C3380CC4-5D6E-409C-BE32-E72D297353CC}">
              <c16:uniqueId val="{00000000-7353-4EDA-960F-EC8C6F48E180}"/>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1138</c:v>
                </c:pt>
                <c:pt idx="1">
                  <c:v>1123</c:v>
                </c:pt>
                <c:pt idx="2">
                  <c:v>1099</c:v>
                </c:pt>
                <c:pt idx="3">
                  <c:v>1179</c:v>
                </c:pt>
                <c:pt idx="4">
                  <c:v>1143</c:v>
                </c:pt>
                <c:pt idx="5">
                  <c:v>1168</c:v>
                </c:pt>
              </c:numCache>
            </c:numRef>
          </c:val>
          <c:extLst>
            <c:ext xmlns:c16="http://schemas.microsoft.com/office/drawing/2014/chart" uri="{C3380CC4-5D6E-409C-BE32-E72D297353CC}">
              <c16:uniqueId val="{00000001-7353-4EDA-960F-EC8C6F48E180}"/>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72</c:v>
                </c:pt>
                <c:pt idx="1">
                  <c:v>64</c:v>
                </c:pt>
                <c:pt idx="2">
                  <c:v>76</c:v>
                </c:pt>
                <c:pt idx="3">
                  <c:v>77</c:v>
                </c:pt>
                <c:pt idx="4">
                  <c:v>77</c:v>
                </c:pt>
                <c:pt idx="5">
                  <c:v>62</c:v>
                </c:pt>
              </c:numCache>
            </c:numRef>
          </c:val>
          <c:extLst>
            <c:ext xmlns:c16="http://schemas.microsoft.com/office/drawing/2014/chart" uri="{C3380CC4-5D6E-409C-BE32-E72D297353CC}">
              <c16:uniqueId val="{00000002-7353-4EDA-960F-EC8C6F48E180}"/>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2227</c:v>
                </c:pt>
                <c:pt idx="1">
                  <c:v>2248</c:v>
                </c:pt>
                <c:pt idx="2">
                  <c:v>2301</c:v>
                </c:pt>
                <c:pt idx="3">
                  <c:v>2427</c:v>
                </c:pt>
                <c:pt idx="4">
                  <c:v>2432</c:v>
                </c:pt>
                <c:pt idx="5">
                  <c:v>2479</c:v>
                </c:pt>
              </c:numCache>
            </c:numRef>
          </c:val>
          <c:extLst>
            <c:ext xmlns:c16="http://schemas.microsoft.com/office/drawing/2014/chart" uri="{C3380CC4-5D6E-409C-BE32-E72D297353CC}">
              <c16:uniqueId val="{00000003-7353-4EDA-960F-EC8C6F48E180}"/>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7353-4EDA-960F-EC8C6F48E180}"/>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7353-4EDA-960F-EC8C6F48E180}"/>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7353-4EDA-960F-EC8C6F48E180}"/>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7353-4EDA-960F-EC8C6F48E180}"/>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7353-4EDA-960F-EC8C6F48E180}"/>
              </c:ext>
            </c:extLst>
          </c:dPt>
          <c:dPt>
            <c:idx val="5"/>
            <c:invertIfNegative val="0"/>
            <c:bubble3D val="0"/>
            <c:extLst>
              <c:ext xmlns:c16="http://schemas.microsoft.com/office/drawing/2014/chart" uri="{C3380CC4-5D6E-409C-BE32-E72D297353CC}">
                <c16:uniqueId val="{0000000E-7353-4EDA-960F-EC8C6F48E180}"/>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353-4EDA-960F-EC8C6F48E180}"/>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353-4EDA-960F-EC8C6F48E180}"/>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353-4EDA-960F-EC8C6F48E180}"/>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353-4EDA-960F-EC8C6F48E180}"/>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353-4EDA-960F-EC8C6F48E18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522</c:v>
                </c:pt>
                <c:pt idx="1">
                  <c:v>513</c:v>
                </c:pt>
                <c:pt idx="2">
                  <c:v>509</c:v>
                </c:pt>
                <c:pt idx="3">
                  <c:v>492</c:v>
                </c:pt>
                <c:pt idx="4">
                  <c:v>509</c:v>
                </c:pt>
                <c:pt idx="5">
                  <c:v>514</c:v>
                </c:pt>
              </c:numCache>
            </c:numRef>
          </c:val>
          <c:extLst>
            <c:ext xmlns:c16="http://schemas.microsoft.com/office/drawing/2014/chart" uri="{C3380CC4-5D6E-409C-BE32-E72D297353CC}">
              <c16:uniqueId val="{0000000F-7353-4EDA-960F-EC8C6F48E180}"/>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E5CE-4FB7-80C7-3B4CED2A7ECC}"/>
              </c:ext>
            </c:extLst>
          </c:dPt>
          <c:dPt>
            <c:idx val="1"/>
            <c:bubble3D val="0"/>
            <c:spPr>
              <a:solidFill>
                <a:schemeClr val="accent2"/>
              </a:solidFill>
              <a:ln>
                <a:noFill/>
              </a:ln>
              <a:effectLst/>
            </c:spPr>
            <c:extLst>
              <c:ext xmlns:c16="http://schemas.microsoft.com/office/drawing/2014/chart" uri="{C3380CC4-5D6E-409C-BE32-E72D297353CC}">
                <c16:uniqueId val="{00000003-E5CE-4FB7-80C7-3B4CED2A7ECC}"/>
              </c:ext>
            </c:extLst>
          </c:dPt>
          <c:dPt>
            <c:idx val="2"/>
            <c:bubble3D val="0"/>
            <c:spPr>
              <a:solidFill>
                <a:schemeClr val="accent3"/>
              </a:solidFill>
              <a:ln>
                <a:noFill/>
              </a:ln>
              <a:effectLst/>
            </c:spPr>
            <c:extLst>
              <c:ext xmlns:c16="http://schemas.microsoft.com/office/drawing/2014/chart" uri="{C3380CC4-5D6E-409C-BE32-E72D297353CC}">
                <c16:uniqueId val="{00000005-E5CE-4FB7-80C7-3B4CED2A7ECC}"/>
              </c:ext>
            </c:extLst>
          </c:dPt>
          <c:dPt>
            <c:idx val="3"/>
            <c:bubble3D val="0"/>
            <c:spPr>
              <a:solidFill>
                <a:schemeClr val="accent4"/>
              </a:solidFill>
              <a:ln>
                <a:noFill/>
              </a:ln>
              <a:effectLst/>
            </c:spPr>
            <c:extLst>
              <c:ext xmlns:c16="http://schemas.microsoft.com/office/drawing/2014/chart" uri="{C3380CC4-5D6E-409C-BE32-E72D297353CC}">
                <c16:uniqueId val="{00000007-E5CE-4FB7-80C7-3B4CED2A7ECC}"/>
              </c:ext>
            </c:extLst>
          </c:dPt>
          <c:dPt>
            <c:idx val="4"/>
            <c:bubble3D val="0"/>
            <c:spPr>
              <a:solidFill>
                <a:schemeClr val="accent5"/>
              </a:solidFill>
              <a:ln>
                <a:noFill/>
              </a:ln>
              <a:effectLst/>
            </c:spPr>
            <c:extLst>
              <c:ext xmlns:c16="http://schemas.microsoft.com/office/drawing/2014/chart" uri="{C3380CC4-5D6E-409C-BE32-E72D297353CC}">
                <c16:uniqueId val="{00000009-E5CE-4FB7-80C7-3B4CED2A7ECC}"/>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E5CE-4FB7-80C7-3B4CED2A7ECC}"/>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111</c:v>
                </c:pt>
                <c:pt idx="1">
                  <c:v>1168</c:v>
                </c:pt>
                <c:pt idx="2">
                  <c:v>62</c:v>
                </c:pt>
                <c:pt idx="3">
                  <c:v>2479</c:v>
                </c:pt>
                <c:pt idx="4">
                  <c:v>514</c:v>
                </c:pt>
              </c:numCache>
            </c:numRef>
          </c:val>
          <c:extLst>
            <c:ext xmlns:c16="http://schemas.microsoft.com/office/drawing/2014/chart" uri="{C3380CC4-5D6E-409C-BE32-E72D297353CC}">
              <c16:uniqueId val="{0000000A-E5CE-4FB7-80C7-3B4CED2A7ECC}"/>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25 Metallvareindustri</c:v>
                </c:pt>
              </c:strCache>
            </c:strRef>
          </c:tx>
          <c:spPr>
            <a:ln w="28575" cap="rnd">
              <a:solidFill>
                <a:schemeClr val="accent1"/>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75</c:v>
                </c:pt>
                <c:pt idx="1">
                  <c:v>73</c:v>
                </c:pt>
                <c:pt idx="2">
                  <c:v>84</c:v>
                </c:pt>
                <c:pt idx="3">
                  <c:v>88</c:v>
                </c:pt>
                <c:pt idx="4">
                  <c:v>95</c:v>
                </c:pt>
                <c:pt idx="5">
                  <c:v>119</c:v>
                </c:pt>
              </c:numCache>
            </c:numRef>
          </c:val>
          <c:smooth val="0"/>
          <c:extLst>
            <c:ext xmlns:c16="http://schemas.microsoft.com/office/drawing/2014/chart" uri="{C3380CC4-5D6E-409C-BE32-E72D297353CC}">
              <c16:uniqueId val="{00000000-FD36-424D-AD23-9B8C9A67BD1F}"/>
            </c:ext>
          </c:extLst>
        </c:ser>
        <c:ser>
          <c:idx val="3"/>
          <c:order val="1"/>
          <c:tx>
            <c:strRef>
              <c:f>'pivot 2 siffer'!$C$4:$C$5</c:f>
              <c:strCache>
                <c:ptCount val="1"/>
                <c:pt idx="0">
                  <c:v>28 Maskinindustri</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157</c:v>
                </c:pt>
                <c:pt idx="1">
                  <c:v>170</c:v>
                </c:pt>
                <c:pt idx="2">
                  <c:v>175</c:v>
                </c:pt>
                <c:pt idx="3">
                  <c:v>197</c:v>
                </c:pt>
                <c:pt idx="4">
                  <c:v>209</c:v>
                </c:pt>
                <c:pt idx="5">
                  <c:v>223</c:v>
                </c:pt>
              </c:numCache>
            </c:numRef>
          </c:val>
          <c:smooth val="0"/>
          <c:extLst>
            <c:ext xmlns:c16="http://schemas.microsoft.com/office/drawing/2014/chart" uri="{C3380CC4-5D6E-409C-BE32-E72D297353CC}">
              <c16:uniqueId val="{00000001-FD36-424D-AD23-9B8C9A67BD1F}"/>
            </c:ext>
          </c:extLst>
        </c:ser>
        <c:ser>
          <c:idx val="1"/>
          <c:order val="2"/>
          <c:tx>
            <c:strRef>
              <c:f>'pivot 2 siffer'!$D$4:$D$5</c:f>
              <c:strCache>
                <c:ptCount val="1"/>
                <c:pt idx="0">
                  <c:v>41 Oppføring av bygninger</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132</c:v>
                </c:pt>
                <c:pt idx="1">
                  <c:v>126</c:v>
                </c:pt>
                <c:pt idx="2">
                  <c:v>119</c:v>
                </c:pt>
                <c:pt idx="3">
                  <c:v>126</c:v>
                </c:pt>
                <c:pt idx="4">
                  <c:v>123</c:v>
                </c:pt>
                <c:pt idx="5">
                  <c:v>119</c:v>
                </c:pt>
              </c:numCache>
            </c:numRef>
          </c:val>
          <c:smooth val="0"/>
          <c:extLst>
            <c:ext xmlns:c16="http://schemas.microsoft.com/office/drawing/2014/chart" uri="{C3380CC4-5D6E-409C-BE32-E72D297353CC}">
              <c16:uniqueId val="{00000002-FD36-424D-AD23-9B8C9A67BD1F}"/>
            </c:ext>
          </c:extLst>
        </c:ser>
        <c:ser>
          <c:idx val="2"/>
          <c:order val="3"/>
          <c:tx>
            <c:strRef>
              <c:f>'pivot 2 siffer'!$E$4:$E$5</c:f>
              <c:strCache>
                <c:ptCount val="1"/>
                <c:pt idx="0">
                  <c:v>43 Spesialisert bygge- og anleggsvirksomhet</c:v>
                </c:pt>
              </c:strCache>
            </c:strRef>
          </c:tx>
          <c:spPr>
            <a:ln w="28575" cap="rnd">
              <a:solidFill>
                <a:schemeClr val="accent3"/>
              </a:solidFill>
              <a:round/>
            </a:ln>
            <a:effectLst/>
          </c:spPr>
          <c:marker>
            <c:symbol val="diamond"/>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172</c:v>
                </c:pt>
                <c:pt idx="1">
                  <c:v>181</c:v>
                </c:pt>
                <c:pt idx="2">
                  <c:v>183</c:v>
                </c:pt>
                <c:pt idx="3">
                  <c:v>196</c:v>
                </c:pt>
                <c:pt idx="4">
                  <c:v>243</c:v>
                </c:pt>
                <c:pt idx="5">
                  <c:v>250</c:v>
                </c:pt>
              </c:numCache>
            </c:numRef>
          </c:val>
          <c:smooth val="0"/>
          <c:extLst>
            <c:ext xmlns:c16="http://schemas.microsoft.com/office/drawing/2014/chart" uri="{C3380CC4-5D6E-409C-BE32-E72D297353CC}">
              <c16:uniqueId val="{00000003-FD36-424D-AD23-9B8C9A67BD1F}"/>
            </c:ext>
          </c:extLst>
        </c:ser>
        <c:dLbls>
          <c:showLegendKey val="0"/>
          <c:showVal val="0"/>
          <c:showCatName val="0"/>
          <c:showSerName val="0"/>
          <c:showPercent val="0"/>
          <c:showBubbleSize val="0"/>
        </c:dLbls>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10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lekkefjord</c:v>
                </c:pt>
              </c:strCache>
            </c:strRef>
          </c:cat>
          <c:val>
            <c:numRef>
              <c:f>Pivot_tom_2023!$B$6:$B$8</c:f>
              <c:numCache>
                <c:formatCode>General</c:formatCode>
                <c:ptCount val="2"/>
                <c:pt idx="0">
                  <c:v>42.3</c:v>
                </c:pt>
                <c:pt idx="1">
                  <c:v>42.5</c:v>
                </c:pt>
              </c:numCache>
            </c:numRef>
          </c:val>
          <c:extLst>
            <c:ext xmlns:c16="http://schemas.microsoft.com/office/drawing/2014/chart" uri="{C3380CC4-5D6E-409C-BE32-E72D297353CC}">
              <c16:uniqueId val="{00000000-43E5-4D4A-BAC5-4166BC8E40F2}"/>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lekkefjord</c:v>
                </c:pt>
              </c:strCache>
            </c:strRef>
          </c:cat>
          <c:val>
            <c:numRef>
              <c:f>Pivot_tom_2023!$C$6:$C$8</c:f>
              <c:numCache>
                <c:formatCode>General</c:formatCode>
                <c:ptCount val="2"/>
                <c:pt idx="0">
                  <c:v>42.6</c:v>
                </c:pt>
                <c:pt idx="1">
                  <c:v>43</c:v>
                </c:pt>
              </c:numCache>
            </c:numRef>
          </c:val>
          <c:extLst>
            <c:ext xmlns:c16="http://schemas.microsoft.com/office/drawing/2014/chart" uri="{C3380CC4-5D6E-409C-BE32-E72D297353CC}">
              <c16:uniqueId val="{00000001-43E5-4D4A-BAC5-4166BC8E40F2}"/>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lekkefjord</c:v>
                </c:pt>
              </c:strCache>
            </c:strRef>
          </c:cat>
          <c:val>
            <c:numRef>
              <c:f>Pivot_tom_2023!$D$6:$D$8</c:f>
              <c:numCache>
                <c:formatCode>General</c:formatCode>
                <c:ptCount val="2"/>
                <c:pt idx="0">
                  <c:v>42.8</c:v>
                </c:pt>
                <c:pt idx="1">
                  <c:v>44</c:v>
                </c:pt>
              </c:numCache>
            </c:numRef>
          </c:val>
          <c:extLst>
            <c:ext xmlns:c16="http://schemas.microsoft.com/office/drawing/2014/chart" uri="{C3380CC4-5D6E-409C-BE32-E72D297353CC}">
              <c16:uniqueId val="{00000002-43E5-4D4A-BAC5-4166BC8E40F2}"/>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lekkefjord</c:v>
                </c:pt>
              </c:strCache>
            </c:strRef>
          </c:cat>
          <c:val>
            <c:numRef>
              <c:f>Pivot_tom_2023!$E$6:$E$8</c:f>
              <c:numCache>
                <c:formatCode>General</c:formatCode>
                <c:ptCount val="2"/>
                <c:pt idx="0">
                  <c:v>41.5</c:v>
                </c:pt>
                <c:pt idx="1">
                  <c:v>41.1</c:v>
                </c:pt>
              </c:numCache>
            </c:numRef>
          </c:val>
          <c:extLst>
            <c:ext xmlns:c16="http://schemas.microsoft.com/office/drawing/2014/chart" uri="{C3380CC4-5D6E-409C-BE32-E72D297353CC}">
              <c16:uniqueId val="{00000003-43E5-4D4A-BAC5-4166BC8E40F2}"/>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lekkefjord</c:v>
                </c:pt>
              </c:strCache>
            </c:strRef>
          </c:cat>
          <c:val>
            <c:numRef>
              <c:f>Pivot_tom_2023!$F$6:$F$8</c:f>
              <c:numCache>
                <c:formatCode>General</c:formatCode>
                <c:ptCount val="2"/>
                <c:pt idx="0">
                  <c:v>41.6</c:v>
                </c:pt>
                <c:pt idx="1">
                  <c:v>43.1</c:v>
                </c:pt>
              </c:numCache>
            </c:numRef>
          </c:val>
          <c:extLst>
            <c:ext xmlns:c16="http://schemas.microsoft.com/office/drawing/2014/chart" uri="{C3380CC4-5D6E-409C-BE32-E72D297353CC}">
              <c16:uniqueId val="{00000004-43E5-4D4A-BAC5-4166BC8E40F2}"/>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2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B30B-4C8C-9825-B28DA454B331}"/>
            </c:ext>
          </c:extLst>
        </c:ser>
        <c:ser>
          <c:idx val="1"/>
          <c:order val="1"/>
          <c:tx>
            <c:strRef>
              <c:f>'bruk 2024'!$C$5:$C$6</c:f>
              <c:strCache>
                <c:ptCount val="1"/>
                <c:pt idx="0">
                  <c:v>Flekkefjor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81.099999999999994</c:v>
                </c:pt>
                <c:pt idx="1">
                  <c:v>78.400000000000006</c:v>
                </c:pt>
                <c:pt idx="2">
                  <c:v>87.2</c:v>
                </c:pt>
                <c:pt idx="3">
                  <c:v>86.6</c:v>
                </c:pt>
                <c:pt idx="4">
                  <c:v>85</c:v>
                </c:pt>
              </c:numCache>
            </c:numRef>
          </c:val>
          <c:extLst>
            <c:ext xmlns:c16="http://schemas.microsoft.com/office/drawing/2014/chart" uri="{C3380CC4-5D6E-409C-BE32-E72D297353CC}">
              <c16:uniqueId val="{00000001-B30B-4C8C-9825-B28DA454B331}"/>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B31A-4941-9A98-69FB5886773E}"/>
              </c:ext>
            </c:extLst>
          </c:dPt>
          <c:dPt>
            <c:idx val="15"/>
            <c:invertIfNegative val="0"/>
            <c:bubble3D val="0"/>
            <c:spPr>
              <a:solidFill>
                <a:schemeClr val="accent1"/>
              </a:solidFill>
              <a:ln>
                <a:noFill/>
              </a:ln>
              <a:effectLst/>
            </c:spPr>
            <c:extLst>
              <c:ext xmlns:c16="http://schemas.microsoft.com/office/drawing/2014/chart" uri="{C3380CC4-5D6E-409C-BE32-E72D297353CC}">
                <c16:uniqueId val="{00000004-B31A-4941-9A98-69FB5886773E}"/>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B31A-4941-9A98-69FB5886773E}"/>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B31A-4941-9A98-69FB5886773E}"/>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ntrakter per 1000 innbyggere, privat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_privat_sektor'!$I$3</c:f>
              <c:strCache>
                <c:ptCount val="1"/>
                <c:pt idx="0">
                  <c:v>Antall kontrakter per 1000 innbyggere</c:v>
                </c:pt>
              </c:strCache>
            </c:strRef>
          </c:tx>
          <c:spPr>
            <a:solidFill>
              <a:srgbClr val="002060"/>
            </a:solidFill>
            <a:ln>
              <a:noFill/>
            </a:ln>
            <a:effectLst/>
          </c:spPr>
          <c:invertIfNegative val="0"/>
          <c:dPt>
            <c:idx val="16"/>
            <c:invertIfNegative val="0"/>
            <c:bubble3D val="0"/>
            <c:spPr>
              <a:solidFill>
                <a:srgbClr val="FFC000"/>
              </a:solidFill>
              <a:ln>
                <a:noFill/>
              </a:ln>
              <a:effectLst/>
            </c:spPr>
            <c:extLst>
              <c:ext xmlns:c16="http://schemas.microsoft.com/office/drawing/2014/chart" uri="{C3380CC4-5D6E-409C-BE32-E72D297353CC}">
                <c16:uniqueId val="{00000001-CFD5-4BC4-98FE-A29F7BCCDF41}"/>
              </c:ext>
            </c:extLst>
          </c:dPt>
          <c:dPt>
            <c:idx val="25"/>
            <c:invertIfNegative val="0"/>
            <c:bubble3D val="0"/>
            <c:spPr>
              <a:solidFill>
                <a:srgbClr val="00B0F0"/>
              </a:solidFill>
              <a:ln>
                <a:noFill/>
              </a:ln>
              <a:effectLst/>
            </c:spPr>
            <c:extLst>
              <c:ext xmlns:c16="http://schemas.microsoft.com/office/drawing/2014/chart" uri="{C3380CC4-5D6E-409C-BE32-E72D297353CC}">
                <c16:uniqueId val="{00000003-CFD5-4BC4-98FE-A29F7BCCDF41}"/>
              </c:ext>
            </c:extLst>
          </c:dPt>
          <c:cat>
            <c:strRef>
              <c:f>'[Lærekontrakter_180923.xlsx]08.11.24_privat_sektor'!$H$4:$H$29</c:f>
              <c:strCache>
                <c:ptCount val="26"/>
                <c:pt idx="0">
                  <c:v>Iveland</c:v>
                </c:pt>
                <c:pt idx="1">
                  <c:v>Vegårshei</c:v>
                </c:pt>
                <c:pt idx="2">
                  <c:v>Åseral</c:v>
                </c:pt>
                <c:pt idx="3">
                  <c:v>Gjerstad</c:v>
                </c:pt>
                <c:pt idx="4">
                  <c:v>Sirdal</c:v>
                </c:pt>
                <c:pt idx="5">
                  <c:v>Vennesla</c:v>
                </c:pt>
                <c:pt idx="6">
                  <c:v>Lillesand</c:v>
                </c:pt>
                <c:pt idx="7">
                  <c:v>Bygland</c:v>
                </c:pt>
                <c:pt idx="8">
                  <c:v>Evje og Hornnes</c:v>
                </c:pt>
                <c:pt idx="9">
                  <c:v>Åmli</c:v>
                </c:pt>
                <c:pt idx="10">
                  <c:v>Arendal</c:v>
                </c:pt>
                <c:pt idx="11">
                  <c:v>Tvedestrand</c:v>
                </c:pt>
                <c:pt idx="12">
                  <c:v>Birkenes</c:v>
                </c:pt>
                <c:pt idx="13">
                  <c:v>Kvinesdal</c:v>
                </c:pt>
                <c:pt idx="14">
                  <c:v>Risør</c:v>
                </c:pt>
                <c:pt idx="15">
                  <c:v>Grimstad</c:v>
                </c:pt>
                <c:pt idx="16">
                  <c:v>Agder</c:v>
                </c:pt>
                <c:pt idx="17">
                  <c:v>Lindesnes</c:v>
                </c:pt>
                <c:pt idx="18">
                  <c:v>Lyngdal</c:v>
                </c:pt>
                <c:pt idx="19">
                  <c:v>Froland</c:v>
                </c:pt>
                <c:pt idx="20">
                  <c:v>Bykle</c:v>
                </c:pt>
                <c:pt idx="21">
                  <c:v>Valle</c:v>
                </c:pt>
                <c:pt idx="22">
                  <c:v>Hægebostad</c:v>
                </c:pt>
                <c:pt idx="23">
                  <c:v>Kristiansand</c:v>
                </c:pt>
                <c:pt idx="24">
                  <c:v>Farsund</c:v>
                </c:pt>
                <c:pt idx="25">
                  <c:v>Flekkefjord</c:v>
                </c:pt>
              </c:strCache>
            </c:strRef>
          </c:cat>
          <c:val>
            <c:numRef>
              <c:f>'[Lærekontrakter_180923.xlsx]08.11.24_privat_sektor'!$I$4:$I$29</c:f>
              <c:numCache>
                <c:formatCode>0</c:formatCode>
                <c:ptCount val="26"/>
                <c:pt idx="0">
                  <c:v>2.1739130434782608</c:v>
                </c:pt>
                <c:pt idx="1">
                  <c:v>2.204585537918871</c:v>
                </c:pt>
                <c:pt idx="2">
                  <c:v>3.2502708559046587</c:v>
                </c:pt>
                <c:pt idx="3">
                  <c:v>4.5008183306055649</c:v>
                </c:pt>
                <c:pt idx="4">
                  <c:v>5.3390282968499738</c:v>
                </c:pt>
                <c:pt idx="5">
                  <c:v>6.5363706963499872</c:v>
                </c:pt>
                <c:pt idx="6">
                  <c:v>6.5955046428881374</c:v>
                </c:pt>
                <c:pt idx="7">
                  <c:v>6.7796610169491522</c:v>
                </c:pt>
                <c:pt idx="8">
                  <c:v>7.0582304008066545</c:v>
                </c:pt>
                <c:pt idx="9">
                  <c:v>7.2142064372918977</c:v>
                </c:pt>
                <c:pt idx="10">
                  <c:v>7.226836371480962</c:v>
                </c:pt>
                <c:pt idx="11">
                  <c:v>7.4331804523169387</c:v>
                </c:pt>
                <c:pt idx="12">
                  <c:v>7.4817518248175183</c:v>
                </c:pt>
                <c:pt idx="13">
                  <c:v>7.7519379844961236</c:v>
                </c:pt>
                <c:pt idx="14">
                  <c:v>8.4981684981684982</c:v>
                </c:pt>
                <c:pt idx="15">
                  <c:v>8.6106772397773241</c:v>
                </c:pt>
                <c:pt idx="16">
                  <c:v>8.7978740034391123</c:v>
                </c:pt>
                <c:pt idx="17">
                  <c:v>8.8222878851836217</c:v>
                </c:pt>
                <c:pt idx="18">
                  <c:v>9.6908167974157831</c:v>
                </c:pt>
                <c:pt idx="19">
                  <c:v>9.7819114817190513</c:v>
                </c:pt>
                <c:pt idx="20">
                  <c:v>9.8911968348170127</c:v>
                </c:pt>
                <c:pt idx="21">
                  <c:v>9.9585062240663902</c:v>
                </c:pt>
                <c:pt idx="22">
                  <c:v>10.135135135135135</c:v>
                </c:pt>
                <c:pt idx="23">
                  <c:v>10.146513257996684</c:v>
                </c:pt>
                <c:pt idx="24">
                  <c:v>10.935601458080194</c:v>
                </c:pt>
                <c:pt idx="25">
                  <c:v>10.992563853863563</c:v>
                </c:pt>
              </c:numCache>
            </c:numRef>
          </c:val>
          <c:extLst>
            <c:ext xmlns:c16="http://schemas.microsoft.com/office/drawing/2014/chart" uri="{C3380CC4-5D6E-409C-BE32-E72D297353CC}">
              <c16:uniqueId val="{00000004-CFD5-4BC4-98FE-A29F7BCCDF41}"/>
            </c:ext>
          </c:extLst>
        </c:ser>
        <c:dLbls>
          <c:showLegendKey val="0"/>
          <c:showVal val="0"/>
          <c:showCatName val="0"/>
          <c:showSerName val="0"/>
          <c:showPercent val="0"/>
          <c:showBubbleSize val="0"/>
        </c:dLbls>
        <c:gapWidth val="219"/>
        <c:overlap val="-27"/>
        <c:axId val="1308991968"/>
        <c:axId val="1308990528"/>
      </c:barChart>
      <c:catAx>
        <c:axId val="130899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0528"/>
        <c:crosses val="autoZero"/>
        <c:auto val="1"/>
        <c:lblAlgn val="ctr"/>
        <c:lblOffset val="100"/>
        <c:noMultiLvlLbl val="0"/>
      </c:catAx>
      <c:valAx>
        <c:axId val="13089905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1968"/>
        <c:crosses val="autoZero"/>
        <c:crossBetween val="between"/>
      </c:valAx>
      <c:spPr>
        <a:noFill/>
        <a:ln>
          <a:noFill/>
        </a:ln>
        <a:effectLst/>
      </c:spPr>
    </c:plotArea>
    <c:plotVisOnly val="1"/>
    <c:dispBlanksAs val="gap"/>
    <c:showDLblsOverMax val="0"/>
  </c:chart>
  <c:spPr>
    <a:solidFill>
      <a:schemeClr val="bg1"/>
    </a:solidFill>
    <a:ln w="9525" cap="flat" cmpd="sng" algn="ctr">
      <a:solidFill>
        <a:sysClr val="windowText" lastClr="000000"/>
      </a:solidFill>
      <a:round/>
    </a:ln>
    <a:effectLst/>
  </c:spPr>
  <c:txPr>
    <a:bodyPr/>
    <a:lstStyle/>
    <a:p>
      <a:pPr>
        <a:defRPr/>
      </a:pPr>
      <a:endParaRPr lang="nb-NO"/>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Standard">
          <cx:pt idx="0">168</cx:pt>
          <cx:pt idx="1">3</cx:pt>
          <cx:pt idx="2">671</cx:pt>
          <cx:pt idx="3">45</cx:pt>
          <cx:pt idx="4">438</cx:pt>
          <cx:pt idx="5">443</cx:pt>
          <cx:pt idx="6">127</cx:pt>
          <cx:pt idx="7">103</cx:pt>
          <cx:pt idx="8">33</cx:pt>
          <cx:pt idx="9">77</cx:pt>
          <cx:pt idx="10">150</cx:pt>
          <cx:pt idx="11">109</cx:pt>
          <cx:pt idx="12">166</cx:pt>
          <cx:pt idx="13">368</cx:pt>
          <cx:pt idx="14">1321</cx:pt>
          <cx:pt idx="15">91</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6.12.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schemeClr val="tx1"/>
                </a:solidFill>
              </a:rPr>
              <a:t>Gjennomsnittsalder Flekkefjord samlet for hele befolkningen: 42,2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schemeClr val="tx1"/>
                </a:solidFill>
              </a:rPr>
              <a:t>Gjennomsnittsalder Agder: alle 40,7</a:t>
            </a:r>
            <a:r>
              <a:rPr lang="nb-NO" sz="1200" baseline="0">
                <a:solidFill>
                  <a:schemeClr val="tx1"/>
                </a:solidFill>
              </a:rPr>
              <a:t> – menn 40,0 – kvinner 41,4 </a:t>
            </a:r>
            <a:r>
              <a:rPr lang="nb-NO" sz="1200">
                <a:solidFill>
                  <a:schemeClr val="tx1"/>
                </a:solidFill>
              </a:rPr>
              <a:t>(SSB – 2024)</a:t>
            </a:r>
            <a:endParaRPr lang="nb-NO" sz="1200" baseline="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schemeClr val="tx1"/>
                </a:solidFill>
              </a:rPr>
              <a:t>Gjennomsnittsalder Norge: alle 40,8</a:t>
            </a:r>
            <a:r>
              <a:rPr lang="nb-NO" sz="1200" baseline="0">
                <a:solidFill>
                  <a:schemeClr val="tx1"/>
                </a:solidFill>
              </a:rPr>
              <a:t> – menn 40,2 – kvinner 41,5 </a:t>
            </a:r>
            <a:r>
              <a:rPr lang="nb-NO" sz="120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a:solidFill>
                  <a:schemeClr val="tx1"/>
                </a:solidFill>
              </a:rPr>
              <a:t>Forventa levealder Agder: menn 79,9</a:t>
            </a:r>
            <a:r>
              <a:rPr lang="nn-NO" sz="1200" baseline="0" noProof="0">
                <a:solidFill>
                  <a:schemeClr val="tx1"/>
                </a:solidFill>
              </a:rPr>
              <a:t> - kvinner </a:t>
            </a:r>
            <a:r>
              <a:rPr lang="nn-NO" sz="1200" noProof="0">
                <a:solidFill>
                  <a:schemeClr val="tx1"/>
                </a:solidFill>
              </a:rPr>
              <a:t>83,8 (Tall</a:t>
            </a:r>
            <a:r>
              <a:rPr lang="nn-NO" sz="1200" baseline="0" noProof="0">
                <a:solidFill>
                  <a:schemeClr val="tx1"/>
                </a:solidFill>
              </a:rPr>
              <a:t> er gjennomsnitt</a:t>
            </a:r>
            <a:r>
              <a:rPr lang="nn-NO" sz="1200" noProof="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schemeClr val="tx1"/>
                </a:solidFill>
              </a:rPr>
              <a:t>Forventet levealder </a:t>
            </a:r>
            <a:r>
              <a:rPr lang="nb-NO"/>
              <a:t>Norge: menn 80,3</a:t>
            </a:r>
            <a:r>
              <a:rPr lang="nb-NO" baseline="0"/>
              <a:t> -</a:t>
            </a:r>
            <a:r>
              <a:rPr lang="nb-NO"/>
              <a:t> kvinner 84,0 </a:t>
            </a:r>
            <a:r>
              <a:rPr lang="nn-NO" sz="1200" noProof="0">
                <a:solidFill>
                  <a:schemeClr val="tx1"/>
                </a:solidFill>
              </a:rPr>
              <a:t>(Tall</a:t>
            </a:r>
            <a:r>
              <a:rPr lang="nn-NO" sz="1200" baseline="0" noProof="0">
                <a:solidFill>
                  <a:schemeClr val="tx1"/>
                </a:solidFill>
              </a:rPr>
              <a:t> er gjennomsnitt</a:t>
            </a:r>
            <a:r>
              <a:rPr lang="nn-NO" sz="1200" noProof="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a:solidFill>
                  <a:schemeClr val="tx1"/>
                </a:solidFill>
              </a:rPr>
              <a:t>Alle areal tall (2024), </a:t>
            </a:r>
            <a:r>
              <a:rPr lang="nn-NO" sz="1200" noProof="0" err="1">
                <a:solidFill>
                  <a:schemeClr val="tx1"/>
                </a:solidFill>
              </a:rPr>
              <a:t>Folketall</a:t>
            </a:r>
            <a:r>
              <a:rPr lang="nn-NO" sz="1200" noProof="0">
                <a:solidFill>
                  <a:schemeClr val="tx1"/>
                </a:solidFill>
              </a:rPr>
              <a:t> (2024), </a:t>
            </a:r>
            <a:r>
              <a:rPr lang="nn-NO" sz="1200" noProof="0" err="1">
                <a:solidFill>
                  <a:schemeClr val="tx1"/>
                </a:solidFill>
              </a:rPr>
              <a:t>Andel</a:t>
            </a:r>
            <a:r>
              <a:rPr lang="nn-NO" sz="1200" baseline="0" noProof="0">
                <a:solidFill>
                  <a:schemeClr val="tx1"/>
                </a:solidFill>
              </a:rPr>
              <a:t> kvinner (2024), </a:t>
            </a:r>
            <a:r>
              <a:rPr lang="nn-NO" sz="1200" baseline="0" noProof="0" err="1">
                <a:solidFill>
                  <a:schemeClr val="tx1"/>
                </a:solidFill>
              </a:rPr>
              <a:t>Andel</a:t>
            </a:r>
            <a:r>
              <a:rPr lang="nn-NO" sz="1200" baseline="0" noProof="0">
                <a:solidFill>
                  <a:schemeClr val="tx1"/>
                </a:solidFill>
              </a:rPr>
              <a:t> i </a:t>
            </a:r>
            <a:r>
              <a:rPr lang="nn-NO" sz="1200" baseline="0" noProof="0" err="1">
                <a:solidFill>
                  <a:schemeClr val="tx1"/>
                </a:solidFill>
              </a:rPr>
              <a:t>tettsted</a:t>
            </a:r>
            <a:r>
              <a:rPr lang="nn-NO" sz="1200" baseline="0" noProof="0">
                <a:solidFill>
                  <a:schemeClr val="tx1"/>
                </a:solidFill>
              </a:rPr>
              <a:t> (2023), </a:t>
            </a:r>
            <a:r>
              <a:rPr lang="nn-NO" sz="1200" baseline="0" noProof="0" err="1">
                <a:solidFill>
                  <a:schemeClr val="tx1"/>
                </a:solidFill>
              </a:rPr>
              <a:t>Personer</a:t>
            </a:r>
            <a:r>
              <a:rPr lang="nn-NO" sz="1200" baseline="0" noProof="0">
                <a:solidFill>
                  <a:schemeClr val="tx1"/>
                </a:solidFill>
              </a:rPr>
              <a:t> per </a:t>
            </a:r>
            <a:r>
              <a:rPr lang="nn-NO" sz="1200" baseline="0" noProof="0" err="1">
                <a:solidFill>
                  <a:schemeClr val="tx1"/>
                </a:solidFill>
              </a:rPr>
              <a:t>husholdning</a:t>
            </a:r>
            <a:r>
              <a:rPr lang="nn-NO" sz="1200" baseline="0" noProof="0">
                <a:solidFill>
                  <a:schemeClr val="tx1"/>
                </a:solidFill>
              </a:rPr>
              <a:t> (2023), </a:t>
            </a:r>
            <a:r>
              <a:rPr lang="nn-NO" sz="1200" baseline="0" noProof="0" err="1">
                <a:solidFill>
                  <a:schemeClr val="tx1"/>
                </a:solidFill>
              </a:rPr>
              <a:t>Elevtall</a:t>
            </a:r>
            <a:r>
              <a:rPr lang="nn-NO" sz="1200" baseline="0" noProof="0">
                <a:solidFill>
                  <a:schemeClr val="tx1"/>
                </a:solidFill>
              </a:rPr>
              <a:t> (2023-24), Distriktsindeks (2023).</a:t>
            </a:r>
            <a:r>
              <a:rPr lang="nn-NO" sz="1200" noProof="0">
                <a:solidFill>
                  <a:schemeClr val="tx1"/>
                </a:solidFill>
              </a:rPr>
              <a:t> </a:t>
            </a:r>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507385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a:t>
            </a:r>
            <a:r>
              <a:rPr lang="nb-NO" b="0"/>
              <a:t>november – Agder – Alle sektorer 3494- privat sektor 2814 - kommunal sektor 680</a:t>
            </a:r>
          </a:p>
          <a:p>
            <a:r>
              <a:rPr lang="nb-NO" b="0"/>
              <a:t>2023 </a:t>
            </a:r>
            <a:r>
              <a:rPr lang="nb-NO" b="0" dirty="0"/>
              <a:t>–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1398137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a:solidFill>
                  <a:schemeClr val="bg2">
                    <a:lumMod val="10000"/>
                  </a:schemeClr>
                </a:solidFill>
              </a:rPr>
              <a:t>Det er kun Bykle</a:t>
            </a:r>
            <a:r>
              <a:rPr lang="nb-NO" sz="1200">
                <a:solidFill>
                  <a:schemeClr val="bg2">
                    <a:lumMod val="10000"/>
                  </a:schemeClr>
                </a:solidFill>
              </a:rPr>
              <a:t> av kommunene på Agder som har lavere deltidsandel blant kvinner enn landsgjennomsnittet.</a:t>
            </a:r>
          </a:p>
          <a:p>
            <a:endParaRPr lang="nb-NO"/>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12.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Alder</a:t>
            </a:r>
            <a:r>
              <a:rPr lang="nb-NO" baseline="0"/>
              <a:t> 20-66 år</a:t>
            </a:r>
          </a:p>
          <a:p>
            <a:pPr marL="171450" indent="-171450">
              <a:buFont typeface="Arial" panose="020B0604020202020204" pitchFamily="34" charset="0"/>
              <a:buChar char="•"/>
            </a:pPr>
            <a:r>
              <a:rPr lang="nb-NO"/>
              <a:t>Gjennomsnittlig sysselsettingsandel for innvandrere gruppe</a:t>
            </a:r>
            <a:r>
              <a:rPr lang="nb-NO" baseline="0"/>
              <a:t> 2 - 2023: </a:t>
            </a:r>
          </a:p>
          <a:p>
            <a:pPr marL="628650" lvl="1" indent="-171450">
              <a:buFont typeface="Arial" panose="020B0604020202020204" pitchFamily="34" charset="0"/>
              <a:buChar char="•"/>
            </a:pPr>
            <a:r>
              <a:rPr lang="nb-NO" baseline="0"/>
              <a:t>Agder - Begge kjønn: 54,9 %, Kvinner: 50,9 %, Menn: 59,6 %.</a:t>
            </a:r>
          </a:p>
          <a:p>
            <a:pPr marL="628650" lvl="1" indent="-171450">
              <a:buFont typeface="Arial" panose="020B0604020202020204" pitchFamily="34" charset="0"/>
              <a:buChar char="•"/>
            </a:pPr>
            <a:r>
              <a:rPr lang="nb-NO" baseline="0"/>
              <a:t>Norge - Begge kjønn: 61,4 %, Kvinner: 57,5 %, Menn: 66,0 %.</a:t>
            </a:r>
          </a:p>
          <a:p>
            <a:endParaRPr lang="nb-NO"/>
          </a:p>
          <a:p>
            <a:r>
              <a:rPr lang="nb-NO"/>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a:solidFill>
                  <a:schemeClr val="tx1"/>
                </a:solidFill>
                <a:effectLst/>
                <a:latin typeface="+mn-lt"/>
                <a:ea typeface="+mn-ea"/>
                <a:cs typeface="+mn-cs"/>
              </a:rPr>
              <a:t>FHI</a:t>
            </a:r>
            <a:r>
              <a:rPr lang="nb-NO" sz="1200" b="0" i="0" kern="120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a:p>
          <a:p>
            <a:endParaRPr lang="nb-NO"/>
          </a:p>
          <a:p>
            <a:r>
              <a:rPr lang="nb-NO"/>
              <a:t>Kilde: Folkehelseinstituttet,</a:t>
            </a:r>
            <a:r>
              <a:rPr lang="nb-NO" baseline="0"/>
              <a:t> kommunehelsa.</a:t>
            </a:r>
            <a:endParaRPr lang="nb-NO"/>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a:t>Statistikk for Agder samlet viser en markant nedgang i tenner med karies for 5-åringer.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91138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a:t>-</a:t>
            </a:r>
            <a:r>
              <a:rPr lang="nb-NO"/>
              <a:t> Statistikk for 2022.</a:t>
            </a:r>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 Transport og annen mobil forbrenning inkl.:</a:t>
            </a:r>
            <a:r>
              <a:rPr lang="nb-NO" baseline="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a:t>-</a:t>
            </a:r>
            <a:r>
              <a:rPr lang="nb-NO"/>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12579236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Figuren til venstre</a:t>
            </a:r>
            <a:r>
              <a:rPr lang="nb-NO" baseline="0"/>
              <a:t> viser faktisk befolkningsutvikling fram til </a:t>
            </a:r>
            <a:r>
              <a:rPr lang="nb-NO"/>
              <a:t>2024</a:t>
            </a:r>
            <a:r>
              <a:rPr lang="nb-NO" baseline="0"/>
              <a:t>, og deretter </a:t>
            </a:r>
            <a:r>
              <a:rPr lang="nb-NO" baseline="0" err="1"/>
              <a:t>SSB’s</a:t>
            </a:r>
            <a:r>
              <a:rPr lang="nb-NO" baseline="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a:p>
          <a:p>
            <a:r>
              <a:rPr lang="nb-NO" baseline="0"/>
              <a:t>Figuren til høyre er det lite usikkerhet knyttet til hva angår økningen i den aldrende befolkningen. Dette er jo mennesker vi allerede har hos oss i dag.</a:t>
            </a:r>
            <a:endParaRPr lang="nb-NO">
              <a:ea typeface="Calibri"/>
              <a:cs typeface="Calibri"/>
            </a:endParaRPr>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23614788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Kartet til høyre</a:t>
            </a:r>
            <a:r>
              <a:rPr lang="nb-NO" baseline="0"/>
              <a:t> er laget på grunnlag av </a:t>
            </a:r>
            <a:r>
              <a:rPr lang="nb-NO" baseline="0" err="1"/>
              <a:t>SSB’s</a:t>
            </a:r>
            <a:r>
              <a:rPr lang="nb-NO" baseline="0"/>
              <a:t> rutenettstatistikk. </a:t>
            </a:r>
          </a:p>
          <a:p>
            <a:endParaRPr lang="nb-NO" baseline="0"/>
          </a:p>
          <a:p>
            <a:pPr marL="0" marR="0" lvl="0" indent="0" algn="l" defTabSz="914400" rtl="0" eaLnBrk="1" fontAlgn="auto" latinLnBrk="0" hangingPunct="1">
              <a:lnSpc>
                <a:spcPct val="100000"/>
              </a:lnSpc>
              <a:spcBef>
                <a:spcPts val="0"/>
              </a:spcBef>
              <a:spcAft>
                <a:spcPts val="0"/>
              </a:spcAft>
              <a:buClrTx/>
              <a:buSzTx/>
              <a:buFontTx/>
              <a:buNone/>
              <a:tabLst/>
              <a:defRPr/>
            </a:pPr>
            <a:r>
              <a:rPr lang="nb-NO"/>
              <a:t>Sentralisering</a:t>
            </a:r>
            <a:r>
              <a:rPr lang="nb-NO" baseline="0"/>
              <a:t> er en global megatrend.</a:t>
            </a:r>
            <a:endParaRPr lang="nb-NO"/>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1921627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807353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a:t>Agder har også en høyere andel av befolkningen som står helt utenfor arbeidsstyrken</a:t>
            </a:r>
            <a:r>
              <a:rPr lang="nb-NO" baseline="0"/>
              <a:t> enn landet for øvrig. </a:t>
            </a:r>
            <a:r>
              <a:rPr lang="nb-NO" baseline="0" err="1"/>
              <a:t>Dvs</a:t>
            </a:r>
            <a:r>
              <a:rPr lang="nb-NO" baseline="0"/>
              <a:t> mennesker som ikke har noen relasjon til arbeidslivet i det hele tatt (verken arbeidsledig eller sysselsatt). </a:t>
            </a:r>
            <a:r>
              <a:rPr lang="nb-NO"/>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Agder har også mye lavere sysselsettingsgrad for innvandrere enn landet for øvrig. </a:t>
            </a:r>
          </a:p>
          <a:p>
            <a:endParaRPr lang="nb-NO"/>
          </a:p>
          <a:p>
            <a:r>
              <a:rPr lang="nb-NO"/>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4000200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a:solidFill>
                  <a:schemeClr val="tx1"/>
                </a:solidFill>
                <a:effectLst/>
                <a:latin typeface="+mn-lt"/>
                <a:ea typeface="+mn-ea"/>
                <a:cs typeface="+mn-cs"/>
              </a:rPr>
              <a:t>Agder per 2023, 4. </a:t>
            </a:r>
            <a:r>
              <a:rPr lang="nb-NO" sz="1200" b="0" i="0" kern="1200" err="1">
                <a:solidFill>
                  <a:schemeClr val="tx1"/>
                </a:solidFill>
                <a:effectLst/>
                <a:latin typeface="+mn-lt"/>
                <a:ea typeface="+mn-ea"/>
                <a:cs typeface="+mn-cs"/>
              </a:rPr>
              <a:t>kv</a:t>
            </a:r>
            <a:r>
              <a:rPr lang="nb-NO" sz="1200" b="0" i="0" kern="1200">
                <a:solidFill>
                  <a:schemeClr val="tx1"/>
                </a:solidFill>
                <a:effectLst/>
                <a:latin typeface="+mn-lt"/>
                <a:ea typeface="+mn-ea"/>
                <a:cs typeface="+mn-cs"/>
              </a:rPr>
              <a:t>:</a:t>
            </a:r>
            <a:br>
              <a:rPr lang="nb-NO"/>
            </a:br>
            <a:r>
              <a:rPr lang="nb-NO" sz="1200" b="0" i="0" kern="1200">
                <a:solidFill>
                  <a:schemeClr val="tx1"/>
                </a:solidFill>
                <a:effectLst/>
                <a:latin typeface="+mn-lt"/>
                <a:ea typeface="+mn-ea"/>
                <a:cs typeface="+mn-cs"/>
              </a:rPr>
              <a:t>Sysselsatte med bosted: 154 420 (15-74 år)</a:t>
            </a:r>
            <a:br>
              <a:rPr lang="nb-NO"/>
            </a:br>
            <a:r>
              <a:rPr lang="nb-NO" sz="1200" b="0" i="0" kern="120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BA-områdene</a:t>
            </a:r>
            <a:r>
              <a:rPr lang="nb-NO" baseline="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458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Kilde for virksomhetsinfo:</a:t>
            </a:r>
            <a:r>
              <a:rPr lang="nb-NO" baseline="0" dirty="0"/>
              <a:t> Brønnøysundregisteret.</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2521422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a:p>
          <a:p>
            <a:pPr marL="171450" indent="-171450">
              <a:buFont typeface="Arial" panose="020B0604020202020204" pitchFamily="34" charset="0"/>
              <a:buChar char="•"/>
            </a:pPr>
            <a:r>
              <a:rPr lang="nb-NO"/>
              <a:t>Standpunktkarakterer og eksamensresultater inngår i elevenes sluttvurdering og skal gi informasjon om elevenes kompetanse ved avslutningen av grunnopplæringen.</a:t>
            </a:r>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a:t>Gjennomføring VGS</a:t>
            </a:r>
          </a:p>
          <a:p>
            <a:r>
              <a:rPr lang="nb-NO"/>
              <a:t>Samlet var gjennomføringsgraden for de som startet i vg1 første gang i 2017 på 83,6 % i Agder,</a:t>
            </a:r>
            <a:r>
              <a:rPr lang="nb-NO" baseline="0"/>
              <a:t> som er høyere enn landsgjennomsnittet på 82,2 %.</a:t>
            </a:r>
          </a:p>
          <a:p>
            <a:endParaRPr lang="nb-NO"/>
          </a:p>
          <a:p>
            <a:r>
              <a:rPr lang="nb-NO"/>
              <a:t>Tallene viser gjennomføring i videregående opplæring etter 5/6 år </a:t>
            </a:r>
            <a:r>
              <a:rPr lang="nb-NO" b="0" i="0">
                <a:solidFill>
                  <a:srgbClr val="000000"/>
                </a:solidFill>
                <a:effectLst/>
                <a:highlight>
                  <a:srgbClr val="FBF1F0"/>
                </a:highlight>
                <a:latin typeface="Arial" panose="020B0604020202020204" pitchFamily="34" charset="0"/>
              </a:rPr>
              <a:t>for elever med bostedsadresse i Agder.</a:t>
            </a:r>
            <a:endParaRPr lang="nb-NO"/>
          </a:p>
          <a:p>
            <a:endParaRPr lang="nb-NO" b="0"/>
          </a:p>
          <a:p>
            <a:r>
              <a:rPr lang="nb-NO" b="0"/>
              <a:t>Når det gjelder</a:t>
            </a:r>
            <a:r>
              <a:rPr lang="nb-NO" b="0" baseline="0"/>
              <a:t> søkerpreferanser er det en generell trend at en større andel jenter enn gutter søker studiespesialisering. De senere årene har andelen som søker yrkesopplæring vært økende for begge kjønn.</a:t>
            </a:r>
            <a:endParaRPr lang="nb-NO" b="0"/>
          </a:p>
          <a:p>
            <a:endParaRPr lang="nb-NO" b="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154523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3.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3.jpe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e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3" Type="http://schemas.openxmlformats.org/officeDocument/2006/relationships/hyperlink" Target="https://agdertall.no/klima/klimagassreduksjoner/" TargetMode="External"/><Relationship Id="rId7" Type="http://schemas.openxmlformats.org/officeDocument/2006/relationships/image" Target="../media/image41.svg"/><Relationship Id="rId12" Type="http://schemas.openxmlformats.org/officeDocument/2006/relationships/image" Target="../media/image46.png"/><Relationship Id="rId2" Type="http://schemas.openxmlformats.org/officeDocument/2006/relationships/notesSlide" Target="../notesSlides/notesSlide17.xml"/><Relationship Id="rId16" Type="http://schemas.openxmlformats.org/officeDocument/2006/relationships/chart" Target="../charts/chart16.xml"/><Relationship Id="rId1" Type="http://schemas.openxmlformats.org/officeDocument/2006/relationships/slideLayout" Target="../slideLayouts/slideLayout15.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svg"/><Relationship Id="rId15" Type="http://schemas.openxmlformats.org/officeDocument/2006/relationships/image" Target="../media/image49.sv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svg"/><Relationship Id="rId14" Type="http://schemas.openxmlformats.org/officeDocument/2006/relationships/image" Target="../media/image48.png"/></Relationships>
</file>

<file path=ppt/slides/_rels/slide22.xml.rels><?xml version="1.0" encoding="UTF-8" standalone="yes"?>
<Relationships xmlns="http://schemas.openxmlformats.org/package/2006/relationships"><Relationship Id="rId8" Type="http://schemas.openxmlformats.org/officeDocument/2006/relationships/image" Target="../media/image54.emf"/><Relationship Id="rId3" Type="http://schemas.openxmlformats.org/officeDocument/2006/relationships/notesSlide" Target="../notesSlides/notesSlide18.xml"/><Relationship Id="rId7" Type="http://schemas.openxmlformats.org/officeDocument/2006/relationships/image" Target="../media/image53.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2.emf"/><Relationship Id="rId5" Type="http://schemas.openxmlformats.org/officeDocument/2006/relationships/image" Target="../media/image51.emf"/><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a:t>Flekkefjord</a:t>
            </a:r>
          </a:p>
        </p:txBody>
      </p:sp>
      <p:sp>
        <p:nvSpPr>
          <p:cNvPr id="3" name="Undertittel 2"/>
          <p:cNvSpPr>
            <a:spLocks noGrp="1"/>
          </p:cNvSpPr>
          <p:nvPr>
            <p:ph type="subTitle" idx="1"/>
          </p:nvPr>
        </p:nvSpPr>
        <p:spPr/>
        <p:txBody>
          <a:bodyPr/>
          <a:lstStyle/>
          <a:p>
            <a:endParaRPr lang="nb-NO"/>
          </a:p>
          <a:p>
            <a:r>
              <a:rPr lang="nb-NO"/>
              <a:t>Utvalgt statistikk for gjennomgående tema i regionplan Agde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Næringsstruktur – 4. kvartal 2023</a:t>
            </a:r>
          </a:p>
        </p:txBody>
      </p:sp>
      <p:sp>
        <p:nvSpPr>
          <p:cNvPr id="10" name="TekstSylinder 9"/>
          <p:cNvSpPr txBox="1"/>
          <p:nvPr/>
        </p:nvSpPr>
        <p:spPr>
          <a:xfrm>
            <a:off x="205840" y="5114260"/>
            <a:ext cx="11809181" cy="830997"/>
          </a:xfrm>
          <a:prstGeom prst="rect">
            <a:avLst/>
          </a:prstGeom>
          <a:noFill/>
        </p:spPr>
        <p:txBody>
          <a:bodyPr wrap="square" rtlCol="0">
            <a:spAutoFit/>
          </a:bodyPr>
          <a:lstStyle/>
          <a:p>
            <a:r>
              <a:rPr lang="nb-NO" sz="1600" dirty="0"/>
              <a:t>Andersen </a:t>
            </a:r>
            <a:r>
              <a:rPr lang="nb-NO" sz="1600" dirty="0" err="1"/>
              <a:t>mek</a:t>
            </a:r>
            <a:r>
              <a:rPr lang="nb-NO" sz="1600" dirty="0"/>
              <a:t> verksted (maskinindustri), Parat Halvorsen AS (produksjon av dampkjelernæringsmidler) og Agder tunnelservice (Reparasjon av maskiner) er de største industribedriftene. Flekkefjord elektro AS (Elektrisk installasjonsarbeid) er største bygge- og anleggsvirksomhet. </a:t>
            </a:r>
          </a:p>
        </p:txBody>
      </p:sp>
      <p:sp>
        <p:nvSpPr>
          <p:cNvPr id="5" name="TekstSylinder 4">
            <a:extLst>
              <a:ext uri="{FF2B5EF4-FFF2-40B4-BE49-F238E27FC236}">
                <a16:creationId xmlns:a16="http://schemas.microsoft.com/office/drawing/2014/main" id="{9D656F81-52DD-2020-66A0-505318DBCB67}"/>
              </a:ext>
            </a:extLst>
          </p:cNvPr>
          <p:cNvSpPr txBox="1"/>
          <p:nvPr/>
        </p:nvSpPr>
        <p:spPr>
          <a:xfrm>
            <a:off x="9300308" y="6228541"/>
            <a:ext cx="2846216" cy="369332"/>
          </a:xfrm>
          <a:prstGeom prst="rect">
            <a:avLst/>
          </a:prstGeom>
          <a:noFill/>
        </p:spPr>
        <p:txBody>
          <a:bodyPr wrap="square" rtlCol="0">
            <a:spAutoFit/>
          </a:bodyPr>
          <a:lstStyle/>
          <a:p>
            <a:pPr algn="l"/>
            <a:r>
              <a:rPr lang="nb-NO">
                <a:hlinkClick r:id="rId3"/>
              </a:rPr>
              <a:t>Rapport næringsstruktur</a:t>
            </a:r>
            <a:endParaRPr lang="nb-NO"/>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2384099143"/>
                  </p:ext>
                </p:extLst>
              </p:nvPr>
            </p:nvGraphicFramePr>
            <p:xfrm>
              <a:off x="205840" y="1202198"/>
              <a:ext cx="5005389" cy="3690938"/>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205840" y="1202198"/>
                <a:ext cx="5005389" cy="3690938"/>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3001457601"/>
              </p:ext>
            </p:extLst>
          </p:nvPr>
        </p:nvGraphicFramePr>
        <p:xfrm>
          <a:off x="5587547" y="1264359"/>
          <a:ext cx="6427474" cy="35666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Grunnskolepoeng</a:t>
            </a:r>
          </a:p>
        </p:txBody>
      </p:sp>
      <p:sp>
        <p:nvSpPr>
          <p:cNvPr id="3" name="Plassholder for innhold 2"/>
          <p:cNvSpPr>
            <a:spLocks noGrp="1"/>
          </p:cNvSpPr>
          <p:nvPr>
            <p:ph idx="1"/>
          </p:nvPr>
        </p:nvSpPr>
        <p:spPr>
          <a:xfrm>
            <a:off x="516862" y="1300162"/>
            <a:ext cx="4316396" cy="3615967"/>
          </a:xfrm>
        </p:spPr>
        <p:txBody>
          <a:bodyPr/>
          <a:lstStyle/>
          <a:p>
            <a:r>
              <a:rPr lang="nb-NO" sz="2000"/>
              <a:t>Flekkefjord ligger over fylkessnittet for grunnskolepoeng i 2020-2022 og 2024, men under snittet i 2023.</a:t>
            </a:r>
          </a:p>
          <a:p>
            <a:endParaRPr lang="nb-NO" sz="1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6" name="TekstSylinder 5">
            <a:extLst>
              <a:ext uri="{FF2B5EF4-FFF2-40B4-BE49-F238E27FC236}">
                <a16:creationId xmlns:a16="http://schemas.microsoft.com/office/drawing/2014/main" id="{119660C1-6720-75C5-313A-BBB93FB78FE2}"/>
              </a:ext>
            </a:extLst>
          </p:cNvPr>
          <p:cNvSpPr txBox="1"/>
          <p:nvPr/>
        </p:nvSpPr>
        <p:spPr>
          <a:xfrm>
            <a:off x="693477" y="5164298"/>
            <a:ext cx="3016078" cy="369332"/>
          </a:xfrm>
          <a:prstGeom prst="rect">
            <a:avLst/>
          </a:prstGeom>
          <a:noFill/>
        </p:spPr>
        <p:txBody>
          <a:bodyPr wrap="square" rtlCol="0">
            <a:spAutoFit/>
          </a:bodyPr>
          <a:lstStyle/>
          <a:p>
            <a:pPr algn="l"/>
            <a:r>
              <a:rPr lang="nb-NO">
                <a:hlinkClick r:id="rId3"/>
              </a:rPr>
              <a:t>Rapport grunnskolepoeng</a:t>
            </a:r>
            <a:endParaRPr lang="nb-NO"/>
          </a:p>
        </p:txBody>
      </p:sp>
      <p:graphicFrame>
        <p:nvGraphicFramePr>
          <p:cNvPr id="5" name="Diagram 4"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2232823031"/>
              </p:ext>
            </p:extLst>
          </p:nvPr>
        </p:nvGraphicFramePr>
        <p:xfrm>
          <a:off x="5541718" y="1300162"/>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a:t>For 2017-kullet var gjennomførings-graden i kommunen 85,0 %. Dette er høyere enn snittet for Agder. </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Tabellen under viser fordeling av 1. ønske-søkere til </a:t>
            </a:r>
            <a:r>
              <a:rPr lang="nb-NO" err="1"/>
              <a:t>vgo</a:t>
            </a:r>
            <a:r>
              <a:rPr lang="nb-NO"/>
              <a:t> for 2023.</a:t>
            </a:r>
          </a:p>
        </p:txBody>
      </p:sp>
      <p:graphicFrame>
        <p:nvGraphicFramePr>
          <p:cNvPr id="4" name="Tabell 3">
            <a:extLst>
              <a:ext uri="{FF2B5EF4-FFF2-40B4-BE49-F238E27FC236}">
                <a16:creationId xmlns:a16="http://schemas.microsoft.com/office/drawing/2014/main" id="{08A17351-A099-5DB4-EBE0-848D2D26F06F}"/>
              </a:ext>
            </a:extLst>
          </p:cNvPr>
          <p:cNvGraphicFramePr>
            <a:graphicFrameLocks noGrp="1"/>
          </p:cNvGraphicFramePr>
          <p:nvPr>
            <p:extLst>
              <p:ext uri="{D42A27DB-BD31-4B8C-83A1-F6EECF244321}">
                <p14:modId xmlns:p14="http://schemas.microsoft.com/office/powerpoint/2010/main" val="1782413411"/>
              </p:ext>
            </p:extLst>
          </p:nvPr>
        </p:nvGraphicFramePr>
        <p:xfrm>
          <a:off x="695910" y="3429000"/>
          <a:ext cx="4038600" cy="1546860"/>
        </p:xfrm>
        <a:graphic>
          <a:graphicData uri="http://schemas.openxmlformats.org/drawingml/2006/table">
            <a:tbl>
              <a:tblPr firstRow="1"/>
              <a:tblGrid>
                <a:gridCol w="1054100">
                  <a:extLst>
                    <a:ext uri="{9D8B030D-6E8A-4147-A177-3AD203B41FA5}">
                      <a16:colId xmlns:a16="http://schemas.microsoft.com/office/drawing/2014/main" val="3937340272"/>
                    </a:ext>
                  </a:extLst>
                </a:gridCol>
                <a:gridCol w="1054100">
                  <a:extLst>
                    <a:ext uri="{9D8B030D-6E8A-4147-A177-3AD203B41FA5}">
                      <a16:colId xmlns:a16="http://schemas.microsoft.com/office/drawing/2014/main" val="1570212428"/>
                    </a:ext>
                  </a:extLst>
                </a:gridCol>
                <a:gridCol w="965200">
                  <a:extLst>
                    <a:ext uri="{9D8B030D-6E8A-4147-A177-3AD203B41FA5}">
                      <a16:colId xmlns:a16="http://schemas.microsoft.com/office/drawing/2014/main" val="2873170889"/>
                    </a:ext>
                  </a:extLst>
                </a:gridCol>
                <a:gridCol w="965200">
                  <a:extLst>
                    <a:ext uri="{9D8B030D-6E8A-4147-A177-3AD203B41FA5}">
                      <a16:colId xmlns:a16="http://schemas.microsoft.com/office/drawing/2014/main" val="2736408794"/>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1872303216"/>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Flekkefjor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75,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24,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282413384"/>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4,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5,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2777318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83,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16,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51825000"/>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974926173"/>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97892708"/>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18112808"/>
                  </a:ext>
                </a:extLst>
              </a:tr>
            </a:tbl>
          </a:graphicData>
        </a:graphic>
      </p:graphicFrame>
      <p:sp>
        <p:nvSpPr>
          <p:cNvPr id="5" name="TekstSylinder 4">
            <a:extLst>
              <a:ext uri="{FF2B5EF4-FFF2-40B4-BE49-F238E27FC236}">
                <a16:creationId xmlns:a16="http://schemas.microsoft.com/office/drawing/2014/main" id="{C658FB2D-A70D-2E6D-AD3C-7302E630964D}"/>
              </a:ext>
            </a:extLst>
          </p:cNvPr>
          <p:cNvSpPr txBox="1"/>
          <p:nvPr/>
        </p:nvSpPr>
        <p:spPr>
          <a:xfrm>
            <a:off x="695910" y="5367807"/>
            <a:ext cx="2565550" cy="369332"/>
          </a:xfrm>
          <a:prstGeom prst="rect">
            <a:avLst/>
          </a:prstGeom>
          <a:noFill/>
        </p:spPr>
        <p:txBody>
          <a:bodyPr wrap="square" rtlCol="0">
            <a:spAutoFit/>
          </a:bodyPr>
          <a:lstStyle/>
          <a:p>
            <a:pPr algn="l"/>
            <a:r>
              <a:rPr lang="nb-NO">
                <a:hlinkClick r:id="rId3"/>
              </a:rPr>
              <a:t>Rapport gjennomføring</a:t>
            </a:r>
            <a:endParaRPr lang="nb-NO"/>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670309475"/>
              </p:ext>
            </p:extLst>
          </p:nvPr>
        </p:nvGraphicFramePr>
        <p:xfrm>
          <a:off x="5134707" y="1312704"/>
          <a:ext cx="6889506" cy="366315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335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120610"/>
            <a:ext cx="10153651" cy="685606"/>
          </a:xfrm>
        </p:spPr>
        <p:txBody>
          <a:bodyPr/>
          <a:lstStyle/>
          <a:p>
            <a:r>
              <a:rPr lang="nb-NO"/>
              <a:t>Lærekontrakter kommunal og privat sektor</a:t>
            </a:r>
          </a:p>
        </p:txBody>
      </p:sp>
      <p:sp>
        <p:nvSpPr>
          <p:cNvPr id="12" name="TekstSylinder 11"/>
          <p:cNvSpPr txBox="1"/>
          <p:nvPr/>
        </p:nvSpPr>
        <p:spPr>
          <a:xfrm>
            <a:off x="395424" y="1121307"/>
            <a:ext cx="4346591" cy="3693319"/>
          </a:xfrm>
          <a:prstGeom prst="rect">
            <a:avLst/>
          </a:prstGeom>
          <a:noFill/>
        </p:spPr>
        <p:txBody>
          <a:bodyPr wrap="square" rtlCol="0">
            <a:spAutoFit/>
          </a:bodyPr>
          <a:lstStyle/>
          <a:p>
            <a:pPr marL="285750" indent="-285750">
              <a:buFont typeface="Arial" panose="020B0604020202020204" pitchFamily="34" charset="0"/>
              <a:buChar char="•"/>
            </a:pPr>
            <a:r>
              <a:rPr lang="nb-NO" dirty="0"/>
              <a:t>Det er åtte kommuner i Agder som har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Flekkefjord har 24 lærekontrakter i kommunal sektor, og mangler 4 for å nå målsetningen.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Flekkefjord har 11 lærekontrakter per 1000 innbyggere i privat sektor (2024).</a:t>
            </a:r>
          </a:p>
          <a:p>
            <a:pPr marL="285750" indent="-285750" algn="l">
              <a:buFont typeface="Arial" panose="020B0604020202020204" pitchFamily="34" charset="0"/>
              <a:buChar char="•"/>
            </a:pPr>
            <a:endParaRPr lang="nb-NO" dirty="0"/>
          </a:p>
        </p:txBody>
      </p:sp>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8E44FFB8-1F8F-A867-D0FF-B96BB286E5D3}"/>
              </a:ext>
            </a:extLst>
          </p:cNvPr>
          <p:cNvGraphicFramePr>
            <a:graphicFrameLocks/>
          </p:cNvGraphicFramePr>
          <p:nvPr>
            <p:extLst>
              <p:ext uri="{D42A27DB-BD31-4B8C-83A1-F6EECF244321}">
                <p14:modId xmlns:p14="http://schemas.microsoft.com/office/powerpoint/2010/main" val="302766581"/>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Diagram 1" descr="Stolpediagram som viser antall lærekontrakter per 1000 innbyggere, privat sektor. Sammenligner alle kommuner i Agder.">
            <a:extLst>
              <a:ext uri="{FF2B5EF4-FFF2-40B4-BE49-F238E27FC236}">
                <a16:creationId xmlns:a16="http://schemas.microsoft.com/office/drawing/2014/main" id="{79A0F035-6E3E-5A03-587D-E8262889D0DF}"/>
              </a:ext>
            </a:extLst>
          </p:cNvPr>
          <p:cNvGraphicFramePr>
            <a:graphicFrameLocks/>
          </p:cNvGraphicFramePr>
          <p:nvPr>
            <p:extLst>
              <p:ext uri="{D42A27DB-BD31-4B8C-83A1-F6EECF244321}">
                <p14:modId xmlns:p14="http://schemas.microsoft.com/office/powerpoint/2010/main" val="2236349912"/>
              </p:ext>
            </p:extLst>
          </p:nvPr>
        </p:nvGraphicFramePr>
        <p:xfrm>
          <a:off x="5071384" y="3646721"/>
          <a:ext cx="6924674" cy="220884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57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51357" y="295469"/>
            <a:ext cx="6174393" cy="685606"/>
          </a:xfrm>
        </p:spPr>
        <p:txBody>
          <a:bodyPr/>
          <a:lstStyle/>
          <a:p>
            <a:r>
              <a:rPr lang="nb-NO" sz="4000"/>
              <a:t>Deltid kvinner 20-66 år</a:t>
            </a:r>
          </a:p>
        </p:txBody>
      </p:sp>
      <p:sp>
        <p:nvSpPr>
          <p:cNvPr id="5" name="TekstSylinder 4">
            <a:extLst>
              <a:ext uri="{FF2B5EF4-FFF2-40B4-BE49-F238E27FC236}">
                <a16:creationId xmlns:a16="http://schemas.microsoft.com/office/drawing/2014/main" id="{1259BCDE-C1A8-3652-C344-859271CDD0C8}"/>
              </a:ext>
            </a:extLst>
          </p:cNvPr>
          <p:cNvSpPr txBox="1"/>
          <p:nvPr/>
        </p:nvSpPr>
        <p:spPr>
          <a:xfrm>
            <a:off x="564504" y="5581374"/>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D6D52708-4DCD-2CC3-B3DD-80633FD8B8D1}"/>
              </a:ext>
            </a:extLst>
          </p:cNvPr>
          <p:cNvGraphicFramePr>
            <a:graphicFrameLocks noGrp="1"/>
          </p:cNvGraphicFramePr>
          <p:nvPr>
            <p:extLst>
              <p:ext uri="{D42A27DB-BD31-4B8C-83A1-F6EECF244321}">
                <p14:modId xmlns:p14="http://schemas.microsoft.com/office/powerpoint/2010/main" val="2844176320"/>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a:t>20-66 år</a:t>
                      </a:r>
                      <a:endParaRPr lang="nb-NO" sz="1400" b="1"/>
                    </a:p>
                  </a:txBody>
                  <a:tcPr anchor="ctr"/>
                </a:tc>
                <a:tc>
                  <a:txBody>
                    <a:bodyPr/>
                    <a:lstStyle/>
                    <a:p>
                      <a:pPr algn="ctr"/>
                      <a:r>
                        <a:rPr lang="nb-NO" sz="1400"/>
                        <a:t>Begge kjønn</a:t>
                      </a:r>
                      <a:endParaRPr lang="nb-NO" sz="1400" b="1"/>
                    </a:p>
                  </a:txBody>
                  <a:tcPr anchor="ctr"/>
                </a:tc>
                <a:tc>
                  <a:txBody>
                    <a:bodyPr/>
                    <a:lstStyle/>
                    <a:p>
                      <a:pPr algn="ctr"/>
                      <a:r>
                        <a:rPr lang="nb-NO" sz="1400"/>
                        <a:t>Menn</a:t>
                      </a:r>
                      <a:endParaRPr lang="nb-NO" sz="1400" b="1"/>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a:t>Flekkefjord</a:t>
                      </a:r>
                    </a:p>
                  </a:txBody>
                  <a:tcPr anchor="ctr"/>
                </a:tc>
                <a:tc>
                  <a:txBody>
                    <a:bodyPr/>
                    <a:lstStyle/>
                    <a:p>
                      <a:pPr algn="ctr"/>
                      <a:r>
                        <a:rPr lang="nb-NO" sz="1400" b="0"/>
                        <a:t>32,5</a:t>
                      </a:r>
                    </a:p>
                  </a:txBody>
                  <a:tcPr anchor="ctr"/>
                </a:tc>
                <a:tc>
                  <a:txBody>
                    <a:bodyPr/>
                    <a:lstStyle/>
                    <a:p>
                      <a:pPr algn="ctr"/>
                      <a:r>
                        <a:rPr lang="nb-NO" sz="1400" b="0"/>
                        <a:t>16,7</a:t>
                      </a:r>
                    </a:p>
                  </a:txBody>
                  <a:tcPr anchor="ctr"/>
                </a:tc>
                <a:tc>
                  <a:txBody>
                    <a:bodyPr/>
                    <a:lstStyle/>
                    <a:p>
                      <a:pPr algn="ctr"/>
                      <a:r>
                        <a:rPr lang="nb-NO" sz="1400" b="0"/>
                        <a:t>50,7</a:t>
                      </a:r>
                    </a:p>
                  </a:txBody>
                  <a:tcPr anchor="ctr"/>
                </a:tc>
                <a:extLst>
                  <a:ext uri="{0D108BD9-81ED-4DB2-BD59-A6C34878D82A}">
                    <a16:rowId xmlns:a16="http://schemas.microsoft.com/office/drawing/2014/main" val="4019652575"/>
                  </a:ext>
                </a:extLst>
              </a:tr>
              <a:tr h="275999">
                <a:tc>
                  <a:txBody>
                    <a:bodyPr/>
                    <a:lstStyle/>
                    <a:p>
                      <a:pPr algn="ctr"/>
                      <a:r>
                        <a:rPr lang="nb-NO" sz="1400"/>
                        <a:t>Agder</a:t>
                      </a:r>
                      <a:endParaRPr lang="nb-NO" sz="1400" b="1"/>
                    </a:p>
                  </a:txBody>
                  <a:tcPr anchor="ctr"/>
                </a:tc>
                <a:tc>
                  <a:txBody>
                    <a:bodyPr/>
                    <a:lstStyle/>
                    <a:p>
                      <a:pPr algn="ctr"/>
                      <a:r>
                        <a:rPr lang="nb-NO" sz="1400" b="0"/>
                        <a:t>30,9</a:t>
                      </a:r>
                    </a:p>
                  </a:txBody>
                  <a:tcPr anchor="ctr"/>
                </a:tc>
                <a:tc>
                  <a:txBody>
                    <a:bodyPr/>
                    <a:lstStyle/>
                    <a:p>
                      <a:pPr algn="ctr"/>
                      <a:r>
                        <a:rPr lang="nb-NO" sz="1400" b="0"/>
                        <a:t>18,6</a:t>
                      </a:r>
                    </a:p>
                  </a:txBody>
                  <a:tcPr anchor="ctr"/>
                </a:tc>
                <a:tc>
                  <a:txBody>
                    <a:bodyPr/>
                    <a:lstStyle/>
                    <a:p>
                      <a:pPr algn="ctr"/>
                      <a:r>
                        <a:rPr lang="nb-NO" sz="1400" b="0"/>
                        <a:t>44,6</a:t>
                      </a:r>
                    </a:p>
                  </a:txBody>
                  <a:tcPr anchor="ctr"/>
                </a:tc>
                <a:extLst>
                  <a:ext uri="{0D108BD9-81ED-4DB2-BD59-A6C34878D82A}">
                    <a16:rowId xmlns:a16="http://schemas.microsoft.com/office/drawing/2014/main" val="4145178818"/>
                  </a:ext>
                </a:extLst>
              </a:tr>
              <a:tr h="275999">
                <a:tc>
                  <a:txBody>
                    <a:bodyPr/>
                    <a:lstStyle/>
                    <a:p>
                      <a:pPr algn="ctr"/>
                      <a:r>
                        <a:rPr lang="nb-NO" sz="1400"/>
                        <a:t>Norge</a:t>
                      </a:r>
                      <a:endParaRPr lang="nb-NO" sz="1400" b="1"/>
                    </a:p>
                  </a:txBody>
                  <a:tcPr anchor="ctr"/>
                </a:tc>
                <a:tc>
                  <a:txBody>
                    <a:bodyPr/>
                    <a:lstStyle/>
                    <a:p>
                      <a:pPr algn="ctr"/>
                      <a:r>
                        <a:rPr lang="nb-NO" sz="1400" b="0"/>
                        <a:t>25,4</a:t>
                      </a:r>
                    </a:p>
                  </a:txBody>
                  <a:tcPr anchor="ctr"/>
                </a:tc>
                <a:tc>
                  <a:txBody>
                    <a:bodyPr/>
                    <a:lstStyle/>
                    <a:p>
                      <a:pPr algn="ctr"/>
                      <a:r>
                        <a:rPr lang="nb-NO" sz="1400" b="0"/>
                        <a:t>16,3</a:t>
                      </a:r>
                    </a:p>
                  </a:txBody>
                  <a:tcPr anchor="ctr"/>
                </a:tc>
                <a:tc>
                  <a:txBody>
                    <a:bodyPr/>
                    <a:lstStyle/>
                    <a:p>
                      <a:pPr algn="ctr"/>
                      <a:r>
                        <a:rPr lang="nb-NO" sz="1400" b="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D69D462F-8223-0935-7B28-35F730F42C79}"/>
              </a:ext>
            </a:extLst>
          </p:cNvPr>
          <p:cNvPicPr>
            <a:picLocks noChangeAspect="1"/>
          </p:cNvPicPr>
          <p:nvPr/>
        </p:nvPicPr>
        <p:blipFill>
          <a:blip r:embed="rId4"/>
          <a:stretch>
            <a:fillRect/>
          </a:stretch>
        </p:blipFill>
        <p:spPr>
          <a:xfrm>
            <a:off x="562104" y="1314370"/>
            <a:ext cx="4733795" cy="2740618"/>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CAEABCBC-DE6C-E964-9CCE-DA3EA2609265}"/>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a:t>Sysselsetting etter landbakgrunn</a:t>
            </a:r>
          </a:p>
        </p:txBody>
      </p:sp>
      <p:sp>
        <p:nvSpPr>
          <p:cNvPr id="3" name="TekstSylinder 2"/>
          <p:cNvSpPr txBox="1"/>
          <p:nvPr/>
        </p:nvSpPr>
        <p:spPr>
          <a:xfrm>
            <a:off x="422563" y="1175211"/>
            <a:ext cx="3805307" cy="3139321"/>
          </a:xfrm>
          <a:prstGeom prst="rect">
            <a:avLst/>
          </a:prstGeom>
          <a:noFill/>
        </p:spPr>
        <p:txBody>
          <a:bodyPr wrap="square" rtlCol="0">
            <a:spAutoFit/>
          </a:bodyPr>
          <a:lstStyle/>
          <a:p>
            <a:pPr marL="285750" indent="-285750">
              <a:buFont typeface="Arial" panose="020B0604020202020204" pitchFamily="34" charset="0"/>
              <a:buChar char="•"/>
            </a:pPr>
            <a:r>
              <a:rPr lang="nb-NO"/>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B581708A-CA63-3B9F-A11A-A69ABC0C2A63}"/>
              </a:ext>
            </a:extLst>
          </p:cNvPr>
          <p:cNvSpPr txBox="1"/>
          <p:nvPr/>
        </p:nvSpPr>
        <p:spPr>
          <a:xfrm>
            <a:off x="681345" y="4958820"/>
            <a:ext cx="2423432" cy="369332"/>
          </a:xfrm>
          <a:prstGeom prst="rect">
            <a:avLst/>
          </a:prstGeom>
          <a:noFill/>
        </p:spPr>
        <p:txBody>
          <a:bodyPr wrap="square" rtlCol="0">
            <a:spAutoFit/>
          </a:bodyPr>
          <a:lstStyle/>
          <a:p>
            <a:pPr algn="l"/>
            <a:r>
              <a:rPr lang="nb-NO">
                <a:hlinkClick r:id="rId3"/>
              </a:rPr>
              <a:t>Rapport sysselsetting</a:t>
            </a:r>
            <a:endParaRPr lang="nb-NO"/>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280468274"/>
              </p:ext>
            </p:extLst>
          </p:nvPr>
        </p:nvGraphicFramePr>
        <p:xfrm>
          <a:off x="4538281" y="1175210"/>
          <a:ext cx="7231156" cy="42563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Lav inntekt øker sannsynligheten for dårlig selvopplevd helse, sykdom og for tidlig død.</a:t>
            </a:r>
          </a:p>
        </p:txBody>
      </p:sp>
      <p:sp>
        <p:nvSpPr>
          <p:cNvPr id="4" name="TekstSylinder 3">
            <a:extLst>
              <a:ext uri="{FF2B5EF4-FFF2-40B4-BE49-F238E27FC236}">
                <a16:creationId xmlns:a16="http://schemas.microsoft.com/office/drawing/2014/main" id="{AE078CED-F5E9-7D89-CAC1-210A292ABEFC}"/>
              </a:ext>
            </a:extLst>
          </p:cNvPr>
          <p:cNvSpPr txBox="1"/>
          <p:nvPr/>
        </p:nvSpPr>
        <p:spPr>
          <a:xfrm>
            <a:off x="693477" y="4938155"/>
            <a:ext cx="2423432" cy="369332"/>
          </a:xfrm>
          <a:prstGeom prst="rect">
            <a:avLst/>
          </a:prstGeom>
          <a:noFill/>
        </p:spPr>
        <p:txBody>
          <a:bodyPr wrap="square" rtlCol="0">
            <a:spAutoFit/>
          </a:bodyPr>
          <a:lstStyle/>
          <a:p>
            <a:pPr algn="l"/>
            <a:r>
              <a:rPr lang="nb-NO">
                <a:hlinkClick r:id="rId3"/>
              </a:rPr>
              <a:t>Rapport lavinntekt</a:t>
            </a:r>
            <a:endParaRPr lang="nb-NO"/>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1691118827"/>
              </p:ext>
            </p:extLst>
          </p:nvPr>
        </p:nvGraphicFramePr>
        <p:xfrm>
          <a:off x="4169092" y="1302067"/>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a:t>Tannhelse</a:t>
            </a:r>
          </a:p>
        </p:txBody>
      </p:sp>
      <p:sp>
        <p:nvSpPr>
          <p:cNvPr id="3" name="TekstSylinder 2"/>
          <p:cNvSpPr txBox="1"/>
          <p:nvPr/>
        </p:nvSpPr>
        <p:spPr>
          <a:xfrm>
            <a:off x="422563" y="1175211"/>
            <a:ext cx="3838775" cy="3970318"/>
          </a:xfrm>
          <a:prstGeom prst="rect">
            <a:avLst/>
          </a:prstGeom>
          <a:noFill/>
        </p:spPr>
        <p:txBody>
          <a:bodyPr wrap="square" rtlCol="0">
            <a:spAutoFit/>
          </a:bodyPr>
          <a:lstStyle/>
          <a:p>
            <a:pPr marL="285750" indent="-285750">
              <a:buFont typeface="Arial" panose="020B0604020202020204" pitchFamily="34" charset="0"/>
              <a:buChar char="•"/>
            </a:pPr>
            <a:r>
              <a:rPr lang="nb-NO"/>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Registreringene gir et grovt mål på utviklingen i tannhelsen over flere år, og gir mulighet for å sammenligne tannhelsen mellom kommuner, fylker og gjennomsnitt for landet.</a:t>
            </a:r>
            <a:endParaRPr lang="nb-NO">
              <a:solidFill>
                <a:srgbClr val="FF0000"/>
              </a:solidFill>
            </a:endParaRPr>
          </a:p>
        </p:txBody>
      </p:sp>
      <p:sp>
        <p:nvSpPr>
          <p:cNvPr id="7" name="TekstSylinder 6">
            <a:extLst>
              <a:ext uri="{FF2B5EF4-FFF2-40B4-BE49-F238E27FC236}">
                <a16:creationId xmlns:a16="http://schemas.microsoft.com/office/drawing/2014/main" id="{1A564FF0-F000-0644-C9E7-71F241E7A07C}"/>
              </a:ext>
            </a:extLst>
          </p:cNvPr>
          <p:cNvSpPr txBox="1"/>
          <p:nvPr/>
        </p:nvSpPr>
        <p:spPr>
          <a:xfrm>
            <a:off x="731568" y="5383632"/>
            <a:ext cx="2423432" cy="369332"/>
          </a:xfrm>
          <a:prstGeom prst="rect">
            <a:avLst/>
          </a:prstGeom>
          <a:noFill/>
        </p:spPr>
        <p:txBody>
          <a:bodyPr wrap="square" rtlCol="0">
            <a:spAutoFit/>
          </a:bodyPr>
          <a:lstStyle/>
          <a:p>
            <a:pPr algn="l"/>
            <a:r>
              <a:rPr lang="nb-NO">
                <a:hlinkClick r:id="rId3"/>
              </a:rPr>
              <a:t>Rapport tannhelse </a:t>
            </a:r>
            <a:endParaRPr lang="nb-NO"/>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541228966"/>
              </p:ext>
            </p:extLst>
          </p:nvPr>
        </p:nvGraphicFramePr>
        <p:xfrm>
          <a:off x="5103200" y="4421629"/>
          <a:ext cx="6076950"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2197115910"/>
              </p:ext>
            </p:extLst>
          </p:nvPr>
        </p:nvGraphicFramePr>
        <p:xfrm>
          <a:off x="5103200" y="807594"/>
          <a:ext cx="6076950" cy="1628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433718918"/>
              </p:ext>
            </p:extLst>
          </p:nvPr>
        </p:nvGraphicFramePr>
        <p:xfrm>
          <a:off x="5103200" y="2619375"/>
          <a:ext cx="6086474" cy="1619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9037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a:t>Klima og miljø</a:t>
            </a:r>
          </a:p>
        </p:txBody>
      </p:sp>
      <p:sp>
        <p:nvSpPr>
          <p:cNvPr id="3" name="Undertittel 2"/>
          <p:cNvSpPr>
            <a:spLocks noGrp="1"/>
          </p:cNvSpPr>
          <p:nvPr>
            <p:ph type="subTitle" idx="1"/>
          </p:nvPr>
        </p:nvSpPr>
        <p:spPr>
          <a:xfrm>
            <a:off x="1193800" y="2618427"/>
            <a:ext cx="10171112" cy="1541688"/>
          </a:xfrm>
        </p:spPr>
        <p:txBody>
          <a:bodyPr/>
          <a:lstStyle/>
          <a:p>
            <a:r>
              <a:rPr lang="nb-NO" i="1"/>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451" y="247324"/>
            <a:ext cx="691435" cy="782757"/>
          </a:xfrm>
          <a:prstGeom prst="rect">
            <a:avLst/>
          </a:prstGeom>
        </p:spPr>
      </p:pic>
      <p:sp>
        <p:nvSpPr>
          <p:cNvPr id="2" name="Tittel 1"/>
          <p:cNvSpPr>
            <a:spLocks noGrp="1"/>
          </p:cNvSpPr>
          <p:nvPr>
            <p:ph type="title"/>
          </p:nvPr>
        </p:nvSpPr>
        <p:spPr>
          <a:xfrm>
            <a:off x="1564106" y="344475"/>
            <a:ext cx="8064645" cy="685606"/>
          </a:xfrm>
        </p:spPr>
        <p:txBody>
          <a:bodyPr/>
          <a:lstStyle/>
          <a:p>
            <a:r>
              <a:rPr lang="nb-NO" sz="3200"/>
              <a:t>Kjappe fakta om Flekkefjord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1213711508"/>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Areal</a:t>
                      </a:r>
                      <a:r>
                        <a:rPr lang="nb-NO" sz="1200" baseline="0"/>
                        <a:t> (km2)</a:t>
                      </a:r>
                      <a:endParaRPr lang="nb-NO" sz="1200"/>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real</a:t>
                      </a:r>
                    </a:p>
                  </a:txBody>
                  <a:tcPr/>
                </a:tc>
                <a:tc>
                  <a:txBody>
                    <a:bodyPr/>
                    <a:lstStyle/>
                    <a:p>
                      <a:pPr algn="ctr"/>
                      <a:r>
                        <a:rPr lang="nb-NO" sz="1200"/>
                        <a:t>543,9</a:t>
                      </a:r>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a:t>480,5</a:t>
                      </a:r>
                    </a:p>
                  </a:txBody>
                  <a:tcPr/>
                </a:tc>
                <a:extLst>
                  <a:ext uri="{0D108BD9-81ED-4DB2-BD59-A6C34878D82A}">
                    <a16:rowId xmlns:a16="http://schemas.microsoft.com/office/drawing/2014/main" val="291333389"/>
                  </a:ext>
                </a:extLst>
              </a:tr>
              <a:tr h="312707">
                <a:tc>
                  <a:txBody>
                    <a:bodyPr/>
                    <a:lstStyle/>
                    <a:p>
                      <a:r>
                        <a:rPr lang="nb-NO" sz="1200"/>
                        <a:t>Bebygd/samferdsel areal</a:t>
                      </a:r>
                    </a:p>
                  </a:txBody>
                  <a:tcPr/>
                </a:tc>
                <a:tc>
                  <a:txBody>
                    <a:bodyPr/>
                    <a:lstStyle/>
                    <a:p>
                      <a:pPr algn="ctr"/>
                      <a:r>
                        <a:rPr lang="nb-NO" sz="1200"/>
                        <a:t>11,9</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erskvann</a:t>
                      </a:r>
                    </a:p>
                  </a:txBody>
                  <a:tcPr/>
                </a:tc>
                <a:tc>
                  <a:txBody>
                    <a:bodyPr/>
                    <a:lstStyle/>
                    <a:p>
                      <a:pPr algn="ctr"/>
                      <a:r>
                        <a:rPr lang="nb-NO" sz="1200"/>
                        <a:t>63,4</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a:t>17,1</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a:t>61,9</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3194187868"/>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Barneskoler</a:t>
                      </a:r>
                    </a:p>
                  </a:txBody>
                  <a:tcPr/>
                </a:tc>
                <a:tc>
                  <a:txBody>
                    <a:bodyPr/>
                    <a:lstStyle/>
                    <a:p>
                      <a:pPr algn="ctr"/>
                      <a:r>
                        <a:rPr lang="nb-NO" sz="1200">
                          <a:solidFill>
                            <a:schemeClr val="tx1"/>
                          </a:solidFill>
                        </a:rPr>
                        <a:t>5 (757</a:t>
                      </a:r>
                      <a:r>
                        <a:rPr lang="nb-NO" sz="1200" baseline="0">
                          <a:solidFill>
                            <a:schemeClr val="tx1"/>
                          </a:solidFill>
                        </a:rPr>
                        <a:t> elever)</a:t>
                      </a:r>
                      <a:endParaRPr lang="nb-NO" sz="120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a:t>Ungdomsskoler</a:t>
                      </a:r>
                    </a:p>
                  </a:txBody>
                  <a:tcPr/>
                </a:tc>
                <a:tc>
                  <a:txBody>
                    <a:bodyPr/>
                    <a:lstStyle/>
                    <a:p>
                      <a:pPr algn="ctr"/>
                      <a:r>
                        <a:rPr lang="nb-NO" sz="1200">
                          <a:solidFill>
                            <a:schemeClr val="tx1"/>
                          </a:solidFill>
                        </a:rPr>
                        <a:t>1 (397 elever)</a:t>
                      </a:r>
                    </a:p>
                  </a:txBody>
                  <a:tcPr/>
                </a:tc>
                <a:extLst>
                  <a:ext uri="{0D108BD9-81ED-4DB2-BD59-A6C34878D82A}">
                    <a16:rowId xmlns:a16="http://schemas.microsoft.com/office/drawing/2014/main" val="291333389"/>
                  </a:ext>
                </a:extLst>
              </a:tr>
              <a:tr h="312707">
                <a:tc>
                  <a:txBody>
                    <a:bodyPr/>
                    <a:lstStyle/>
                    <a:p>
                      <a:r>
                        <a:rPr lang="nb-NO" sz="1200"/>
                        <a:t>Videregående skoler</a:t>
                      </a:r>
                    </a:p>
                  </a:txBody>
                  <a:tcPr/>
                </a:tc>
                <a:tc>
                  <a:txBody>
                    <a:bodyPr/>
                    <a:lstStyle/>
                    <a:p>
                      <a:pPr algn="ctr"/>
                      <a:r>
                        <a:rPr lang="nb-NO" sz="1200">
                          <a:solidFill>
                            <a:schemeClr val="tx1"/>
                          </a:solidFill>
                        </a:rPr>
                        <a:t>Flekkefjord </a:t>
                      </a:r>
                      <a:r>
                        <a:rPr lang="nb-NO" sz="1200" err="1">
                          <a:solidFill>
                            <a:schemeClr val="tx1"/>
                          </a:solidFill>
                        </a:rPr>
                        <a:t>vgs</a:t>
                      </a:r>
                      <a:endParaRPr lang="nb-NO" sz="1200">
                        <a:solidFill>
                          <a:schemeClr val="tx1"/>
                        </a:solidFill>
                      </a:endParaRP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Tannklinikk</a:t>
                      </a:r>
                    </a:p>
                  </a:txBody>
                  <a:tcPr/>
                </a:tc>
                <a:tc>
                  <a:txBody>
                    <a:bodyPr/>
                    <a:lstStyle/>
                    <a:p>
                      <a:pPr algn="ctr"/>
                      <a:r>
                        <a:rPr lang="nb-NO" sz="1200">
                          <a:solidFill>
                            <a:schemeClr val="tx1"/>
                          </a:solidFill>
                        </a:rPr>
                        <a:t>Flekkefjord</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ylkesvei (km)</a:t>
                      </a:r>
                    </a:p>
                  </a:txBody>
                  <a:tcPr/>
                </a:tc>
                <a:tc>
                  <a:txBody>
                    <a:bodyPr/>
                    <a:lstStyle/>
                    <a:p>
                      <a:pPr algn="ctr"/>
                      <a:r>
                        <a:rPr lang="nb-NO" sz="1200"/>
                        <a:t>186</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4227854656"/>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a:t>9</a:t>
                      </a:r>
                      <a:r>
                        <a:rPr lang="nb-NO" sz="1200" baseline="0"/>
                        <a:t> 279</a:t>
                      </a:r>
                      <a:endParaRPr lang="nb-NO" sz="1200"/>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a:t>49,4 (Agder:</a:t>
                      </a:r>
                      <a:r>
                        <a:rPr lang="nb-NO" sz="1200" baseline="0"/>
                        <a:t> </a:t>
                      </a:r>
                      <a:r>
                        <a:rPr lang="nb-NO" sz="120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a:t>74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baseline="0"/>
                        <a:t>menn 41,4 - kvinner</a:t>
                      </a:r>
                      <a:r>
                        <a:rPr lang="nb-NO" sz="1200"/>
                        <a:t> 42,9 </a:t>
                      </a:r>
                    </a:p>
                  </a:txBody>
                  <a:tcPr/>
                </a:tc>
                <a:extLst>
                  <a:ext uri="{0D108BD9-81ED-4DB2-BD59-A6C34878D82A}">
                    <a16:rowId xmlns:a16="http://schemas.microsoft.com/office/drawing/2014/main" val="3931694125"/>
                  </a:ext>
                </a:extLst>
              </a:tr>
              <a:tr h="312707">
                <a:tc>
                  <a:txBody>
                    <a:bodyPr/>
                    <a:lstStyle/>
                    <a:p>
                      <a:r>
                        <a:rPr lang="nb-NO" sz="1200"/>
                        <a:t>Forventet levealder</a:t>
                      </a:r>
                    </a:p>
                  </a:txBody>
                  <a:tcPr/>
                </a:tc>
                <a:tc>
                  <a:txBody>
                    <a:bodyPr/>
                    <a:lstStyle/>
                    <a:p>
                      <a:pPr algn="ctr"/>
                      <a:r>
                        <a:rPr lang="nb-NO" sz="1200">
                          <a:solidFill>
                            <a:schemeClr val="tx1"/>
                          </a:solidFill>
                        </a:rPr>
                        <a:t>menn 79,8 - kvinner 84,0</a:t>
                      </a:r>
                    </a:p>
                  </a:txBody>
                  <a:tcPr/>
                </a:tc>
                <a:extLst>
                  <a:ext uri="{0D108BD9-81ED-4DB2-BD59-A6C34878D82A}">
                    <a16:rowId xmlns:a16="http://schemas.microsoft.com/office/drawing/2014/main" val="2448623123"/>
                  </a:ext>
                </a:extLst>
              </a:tr>
              <a:tr h="312707">
                <a:tc>
                  <a:txBody>
                    <a:bodyPr/>
                    <a:lstStyle/>
                    <a:p>
                      <a:pPr lvl="0">
                        <a:buNone/>
                      </a:pPr>
                      <a:r>
                        <a:rPr lang="nb-NO" sz="1200" b="0" u="none" strike="noStrike" noProof="0">
                          <a:solidFill>
                            <a:schemeClr val="tx1"/>
                          </a:solidFill>
                        </a:rPr>
                        <a:t>Personer per husholdning</a:t>
                      </a:r>
                      <a:endParaRPr lang="nb-NO">
                        <a:solidFill>
                          <a:schemeClr val="tx1"/>
                        </a:solidFill>
                      </a:endParaRPr>
                    </a:p>
                  </a:txBody>
                  <a:tcPr/>
                </a:tc>
                <a:tc>
                  <a:txBody>
                    <a:bodyPr/>
                    <a:lstStyle/>
                    <a:p>
                      <a:pPr lvl="0" algn="ctr">
                        <a:buNone/>
                      </a:pPr>
                      <a:r>
                        <a:rPr lang="nb-NO" sz="1200" b="0" u="none" strike="noStrike" noProof="0">
                          <a:solidFill>
                            <a:schemeClr val="tx1"/>
                          </a:solidFill>
                        </a:rPr>
                        <a:t>2,18 (Agder: 2,15)</a:t>
                      </a:r>
                      <a:endParaRPr lang="nb-NO">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388942055"/>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067703">
                  <a:extLst>
                    <a:ext uri="{9D8B030D-6E8A-4147-A177-3AD203B41FA5}">
                      <a16:colId xmlns:a16="http://schemas.microsoft.com/office/drawing/2014/main" val="1134397318"/>
                    </a:ext>
                  </a:extLst>
                </a:gridCol>
                <a:gridCol w="1918455">
                  <a:extLst>
                    <a:ext uri="{9D8B030D-6E8A-4147-A177-3AD203B41FA5}">
                      <a16:colId xmlns:a16="http://schemas.microsoft.com/office/drawing/2014/main" val="4088212826"/>
                    </a:ext>
                  </a:extLst>
                </a:gridCol>
              </a:tblGrid>
              <a:tr h="312707">
                <a:tc gridSpan="2">
                  <a:txBody>
                    <a:bodyPr/>
                    <a:lstStyle/>
                    <a:p>
                      <a:pPr algn="ctr"/>
                      <a:r>
                        <a:rPr lang="nb-NO" sz="120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dministrasjonssenter</a:t>
                      </a:r>
                    </a:p>
                  </a:txBody>
                  <a:tcPr/>
                </a:tc>
                <a:tc>
                  <a:txBody>
                    <a:bodyPr/>
                    <a:lstStyle/>
                    <a:p>
                      <a:pPr algn="ctr"/>
                      <a:r>
                        <a:rPr lang="nb-NO" sz="1200">
                          <a:solidFill>
                            <a:schemeClr val="tx1"/>
                          </a:solidFill>
                        </a:rPr>
                        <a:t>Flekkefjord</a:t>
                      </a:r>
                    </a:p>
                  </a:txBody>
                  <a:tcPr/>
                </a:tc>
                <a:extLst>
                  <a:ext uri="{0D108BD9-81ED-4DB2-BD59-A6C34878D82A}">
                    <a16:rowId xmlns:a16="http://schemas.microsoft.com/office/drawing/2014/main" val="3696038960"/>
                  </a:ext>
                </a:extLst>
              </a:tr>
              <a:tr h="312707">
                <a:tc>
                  <a:txBody>
                    <a:bodyPr/>
                    <a:lstStyle/>
                    <a:p>
                      <a:r>
                        <a:rPr lang="nb-NO" sz="1200"/>
                        <a:t>Interkommunalt politisk</a:t>
                      </a:r>
                      <a:r>
                        <a:rPr lang="nb-NO" sz="1200" baseline="0"/>
                        <a:t> råd</a:t>
                      </a:r>
                      <a:endParaRPr lang="nb-NO" sz="1200"/>
                    </a:p>
                  </a:txBody>
                  <a:tcPr/>
                </a:tc>
                <a:tc>
                  <a:txBody>
                    <a:bodyPr/>
                    <a:lstStyle/>
                    <a:p>
                      <a:pPr algn="ctr"/>
                      <a:r>
                        <a:rPr lang="nb-NO" sz="1200"/>
                        <a:t>Lister</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a:t>4</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a:t>54,7</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a:t>BA42 Flekkefjord</a:t>
                      </a:r>
                    </a:p>
                  </a:txBody>
                  <a:tcPr/>
                </a:tc>
                <a:extLst>
                  <a:ext uri="{0D108BD9-81ED-4DB2-BD59-A6C34878D82A}">
                    <a16:rowId xmlns:a16="http://schemas.microsoft.com/office/drawing/2014/main" val="2448623123"/>
                  </a:ext>
                </a:extLst>
              </a:tr>
            </a:tbl>
          </a:graphicData>
        </a:graphic>
      </p:graphicFrame>
      <p:pic>
        <p:nvPicPr>
          <p:cNvPr id="7" name="Bilde 6"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02621" y="41886"/>
            <a:ext cx="2889380" cy="5773872"/>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a:t>Klimagassutslipp – referansebaner</a:t>
            </a:r>
          </a:p>
        </p:txBody>
      </p:sp>
      <p:sp>
        <p:nvSpPr>
          <p:cNvPr id="3" name="Plassholder for innhold 2"/>
          <p:cNvSpPr>
            <a:spLocks noGrp="1"/>
          </p:cNvSpPr>
          <p:nvPr>
            <p:ph idx="1"/>
          </p:nvPr>
        </p:nvSpPr>
        <p:spPr>
          <a:xfrm>
            <a:off x="472273" y="1348079"/>
            <a:ext cx="3806924"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4" name="TekstSylinder 3">
            <a:extLst>
              <a:ext uri="{FF2B5EF4-FFF2-40B4-BE49-F238E27FC236}">
                <a16:creationId xmlns:a16="http://schemas.microsoft.com/office/drawing/2014/main" id="{623F5FD2-FA8D-DBAD-3E71-C1ACC8ED2307}"/>
              </a:ext>
            </a:extLst>
          </p:cNvPr>
          <p:cNvSpPr txBox="1"/>
          <p:nvPr/>
        </p:nvSpPr>
        <p:spPr>
          <a:xfrm>
            <a:off x="4279196" y="6295844"/>
            <a:ext cx="2887512" cy="369332"/>
          </a:xfrm>
          <a:prstGeom prst="rect">
            <a:avLst/>
          </a:prstGeom>
          <a:noFill/>
        </p:spPr>
        <p:txBody>
          <a:bodyPr wrap="square" rtlCol="0">
            <a:spAutoFit/>
          </a:bodyPr>
          <a:lstStyle/>
          <a:p>
            <a:pPr algn="l"/>
            <a:r>
              <a:rPr lang="nb-NO">
                <a:hlinkClick r:id="rId3"/>
              </a:rPr>
              <a:t>Rapport klimagassutslipp</a:t>
            </a:r>
            <a:endParaRPr lang="nb-NO"/>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119167498"/>
              </p:ext>
            </p:extLst>
          </p:nvPr>
        </p:nvGraphicFramePr>
        <p:xfrm>
          <a:off x="4898133" y="1506974"/>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a:t>Elektrifiseringsgrad per sektor</a:t>
            </a:r>
          </a:p>
        </p:txBody>
      </p:sp>
      <p:sp>
        <p:nvSpPr>
          <p:cNvPr id="3" name="Plassholder for innhold 2"/>
          <p:cNvSpPr>
            <a:spLocks noGrp="1"/>
          </p:cNvSpPr>
          <p:nvPr>
            <p:ph idx="1"/>
          </p:nvPr>
        </p:nvSpPr>
        <p:spPr>
          <a:xfrm>
            <a:off x="384224" y="1293305"/>
            <a:ext cx="2964766" cy="3918775"/>
          </a:xfrm>
        </p:spPr>
        <p:txBody>
          <a:bodyPr/>
          <a:lstStyle/>
          <a:p>
            <a:r>
              <a:rPr lang="nb-NO" sz="1800"/>
              <a:t>Målbildet Electric Region Agder 2030</a:t>
            </a:r>
            <a:r>
              <a:rPr lang="nb-NO" sz="1800" b="1"/>
              <a:t> </a:t>
            </a:r>
            <a:r>
              <a:rPr lang="nb-NO" sz="1800"/>
              <a:t>handler om å utnytte ett av regionens globale fortrinn for å realisere en visjon om et Agder hvor alt er elektrisk, alt er fornybart.</a:t>
            </a:r>
          </a:p>
          <a:p>
            <a:endParaRPr lang="nb-NO" sz="1800"/>
          </a:p>
          <a:p>
            <a:r>
              <a:rPr lang="nb-NO" sz="1800"/>
              <a:t>Dette skjer gjennom å elektrifisere samfunnet ved å erstatte fossil energi med fornybar elektrisitet.</a:t>
            </a:r>
            <a:r>
              <a:rPr lang="nb-NO"/>
              <a:t> </a:t>
            </a:r>
            <a:endParaRPr lang="nb-NO" sz="1800"/>
          </a:p>
        </p:txBody>
      </p:sp>
      <p:sp>
        <p:nvSpPr>
          <p:cNvPr id="5" name="TekstSylinder 4">
            <a:extLst>
              <a:ext uri="{FF2B5EF4-FFF2-40B4-BE49-F238E27FC236}">
                <a16:creationId xmlns:a16="http://schemas.microsoft.com/office/drawing/2014/main" id="{EB0A9251-D27D-EDB6-2E21-792824CC31B3}"/>
              </a:ext>
            </a:extLst>
          </p:cNvPr>
          <p:cNvSpPr txBox="1"/>
          <p:nvPr/>
        </p:nvSpPr>
        <p:spPr>
          <a:xfrm>
            <a:off x="504365" y="5221335"/>
            <a:ext cx="2423432" cy="369332"/>
          </a:xfrm>
          <a:prstGeom prst="rect">
            <a:avLst/>
          </a:prstGeom>
          <a:noFill/>
        </p:spPr>
        <p:txBody>
          <a:bodyPr wrap="square" rtlCol="0">
            <a:spAutoFit/>
          </a:bodyPr>
          <a:lstStyle/>
          <a:p>
            <a:pPr algn="l"/>
            <a:r>
              <a:rPr lang="nb-NO">
                <a:hlinkClick r:id="rId3"/>
              </a:rPr>
              <a:t>Rapport elektrifisering</a:t>
            </a:r>
            <a:endParaRPr lang="nb-NO"/>
          </a:p>
        </p:txBody>
      </p:sp>
      <p:pic>
        <p:nvPicPr>
          <p:cNvPr id="7" name="Graphic 7">
            <a:extLst>
              <a:ext uri="{FF2B5EF4-FFF2-40B4-BE49-F238E27FC236}">
                <a16:creationId xmlns:a16="http://schemas.microsoft.com/office/drawing/2014/main" id="{E88FB574-9C5C-6D5D-27DB-EB3A93C8293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43452" y="1168670"/>
            <a:ext cx="372796" cy="372796"/>
          </a:xfrm>
          <a:prstGeom prst="rect">
            <a:avLst/>
          </a:prstGeom>
        </p:spPr>
      </p:pic>
      <p:pic>
        <p:nvPicPr>
          <p:cNvPr id="8" name="Graphic 8">
            <a:extLst>
              <a:ext uri="{FF2B5EF4-FFF2-40B4-BE49-F238E27FC236}">
                <a16:creationId xmlns:a16="http://schemas.microsoft.com/office/drawing/2014/main" id="{2B31ED66-DB86-9EE4-FFB7-0BAD64CB21E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66509" y="1118627"/>
            <a:ext cx="372796" cy="372796"/>
          </a:xfrm>
          <a:prstGeom prst="rect">
            <a:avLst/>
          </a:prstGeom>
        </p:spPr>
      </p:pic>
      <p:pic>
        <p:nvPicPr>
          <p:cNvPr id="9" name="Content Placeholder 5">
            <a:extLst>
              <a:ext uri="{FF2B5EF4-FFF2-40B4-BE49-F238E27FC236}">
                <a16:creationId xmlns:a16="http://schemas.microsoft.com/office/drawing/2014/main" id="{55AE8C8D-9E3A-D80A-DD58-070538506059}"/>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99804" y="1117286"/>
            <a:ext cx="405419" cy="405419"/>
          </a:xfrm>
          <a:prstGeom prst="rect">
            <a:avLst/>
          </a:prstGeom>
        </p:spPr>
      </p:pic>
      <p:pic>
        <p:nvPicPr>
          <p:cNvPr id="10" name="Graphic 10">
            <a:extLst>
              <a:ext uri="{FF2B5EF4-FFF2-40B4-BE49-F238E27FC236}">
                <a16:creationId xmlns:a16="http://schemas.microsoft.com/office/drawing/2014/main" id="{18F445A5-70C2-1058-659F-0AAF121E2D7F}"/>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38805" y="1163498"/>
            <a:ext cx="372796" cy="372796"/>
          </a:xfrm>
          <a:prstGeom prst="rect">
            <a:avLst/>
          </a:prstGeom>
        </p:spPr>
      </p:pic>
      <p:pic>
        <p:nvPicPr>
          <p:cNvPr id="11" name="Graphic 12">
            <a:extLst>
              <a:ext uri="{FF2B5EF4-FFF2-40B4-BE49-F238E27FC236}">
                <a16:creationId xmlns:a16="http://schemas.microsoft.com/office/drawing/2014/main" id="{A70B7425-EDCF-5850-EB83-36F03A315FD3}"/>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28161" y="1136850"/>
            <a:ext cx="366290" cy="366290"/>
          </a:xfrm>
          <a:prstGeom prst="rect">
            <a:avLst/>
          </a:prstGeom>
        </p:spPr>
      </p:pic>
      <p:pic>
        <p:nvPicPr>
          <p:cNvPr id="12" name="Graphic 13">
            <a:extLst>
              <a:ext uri="{FF2B5EF4-FFF2-40B4-BE49-F238E27FC236}">
                <a16:creationId xmlns:a16="http://schemas.microsoft.com/office/drawing/2014/main" id="{97BB1E70-2BE2-ABB1-014F-C1B860AFBD6A}"/>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19239" y="1072151"/>
            <a:ext cx="423388" cy="423388"/>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22427995-5A5A-15A8-3F06-87414C285E30}"/>
              </a:ext>
            </a:extLst>
          </p:cNvPr>
          <p:cNvGraphicFramePr>
            <a:graphicFrameLocks/>
          </p:cNvGraphicFramePr>
          <p:nvPr>
            <p:extLst>
              <p:ext uri="{D42A27DB-BD31-4B8C-83A1-F6EECF244321}">
                <p14:modId xmlns:p14="http://schemas.microsoft.com/office/powerpoint/2010/main" val="3731907957"/>
              </p:ext>
            </p:extLst>
          </p:nvPr>
        </p:nvGraphicFramePr>
        <p:xfrm>
          <a:off x="3648548" y="1404192"/>
          <a:ext cx="8605508" cy="4212783"/>
        </p:xfrm>
        <a:graphic>
          <a:graphicData uri="http://schemas.openxmlformats.org/drawingml/2006/chart">
            <c:chart xmlns:c="http://schemas.openxmlformats.org/drawingml/2006/chart" xmlns:r="http://schemas.openxmlformats.org/officeDocument/2006/relationships" r:id="rId16"/>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EB22ED9D-9831-9FFF-3846-4AF08DB4D4FD}"/>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a:solidFill>
                  <a:schemeClr val="bg1"/>
                </a:solidFill>
              </a:rPr>
              <a:t>Dagens</a:t>
            </a:r>
          </a:p>
          <a:p>
            <a:pPr algn="ctr"/>
            <a:r>
              <a:rPr lang="nb-NO">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a:solidFill>
                  <a:schemeClr val="bg1"/>
                </a:solidFill>
              </a:rPr>
              <a:t>*</a:t>
            </a:r>
            <a:r>
              <a:rPr lang="en-US" sz="1100" err="1">
                <a:solidFill>
                  <a:schemeClr val="bg1"/>
                </a:solidFill>
              </a:rPr>
              <a:t>Elektrisifisering</a:t>
            </a:r>
            <a:r>
              <a:rPr lang="en-US" sz="1100">
                <a:solidFill>
                  <a:schemeClr val="bg1"/>
                </a:solidFill>
              </a:rPr>
              <a:t> av Transport </a:t>
            </a:r>
            <a:r>
              <a:rPr lang="en-US" sz="1100" err="1">
                <a:solidFill>
                  <a:schemeClr val="bg1"/>
                </a:solidFill>
              </a:rPr>
              <a:t>og</a:t>
            </a:r>
            <a:r>
              <a:rPr lang="en-US" sz="1100">
                <a:solidFill>
                  <a:schemeClr val="bg1"/>
                </a:solidFill>
              </a:rPr>
              <a:t> </a:t>
            </a:r>
            <a:r>
              <a:rPr lang="en-US" sz="1100" err="1">
                <a:solidFill>
                  <a:schemeClr val="bg1"/>
                </a:solidFill>
              </a:rPr>
              <a:t>annen</a:t>
            </a:r>
            <a:r>
              <a:rPr lang="en-US" sz="1100">
                <a:solidFill>
                  <a:schemeClr val="bg1"/>
                </a:solidFill>
              </a:rPr>
              <a:t> </a:t>
            </a:r>
            <a:r>
              <a:rPr lang="en-US" sz="1100" err="1">
                <a:solidFill>
                  <a:schemeClr val="bg1"/>
                </a:solidFill>
              </a:rPr>
              <a:t>mobil</a:t>
            </a:r>
            <a:r>
              <a:rPr lang="en-US" sz="1100">
                <a:solidFill>
                  <a:schemeClr val="bg1"/>
                </a:solidFill>
              </a:rPr>
              <a:t> </a:t>
            </a:r>
            <a:r>
              <a:rPr lang="en-US" sz="1100" err="1">
                <a:solidFill>
                  <a:schemeClr val="bg1"/>
                </a:solidFill>
              </a:rPr>
              <a:t>forbrenning</a:t>
            </a:r>
            <a:endParaRPr lang="en-US" sz="1100">
              <a:solidFill>
                <a:schemeClr val="bg1"/>
              </a:solidFill>
            </a:endParaRPr>
          </a:p>
        </p:txBody>
      </p:sp>
      <p:pic>
        <p:nvPicPr>
          <p:cNvPr id="2" name="Bilde 1" descr="Dagens klimagassutslipp (tonn CO2-ekv).">
            <a:extLst>
              <a:ext uri="{FF2B5EF4-FFF2-40B4-BE49-F238E27FC236}">
                <a16:creationId xmlns:a16="http://schemas.microsoft.com/office/drawing/2014/main" id="{9ED16172-C3D5-8141-DDBA-F023E7536CAB}"/>
              </a:ext>
            </a:extLst>
          </p:cNvPr>
          <p:cNvPicPr/>
          <p:nvPr/>
        </p:nvPicPr>
        <p:blipFill>
          <a:blip r:embed="rId6"/>
          <a:stretch>
            <a:fillRect/>
          </a:stretch>
        </p:blipFill>
        <p:spPr>
          <a:xfrm>
            <a:off x="-1377277"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9E448481-832A-35B7-1CDD-47F0120F02E0}"/>
              </a:ext>
            </a:extLst>
          </p:cNvPr>
          <p:cNvPicPr/>
          <p:nvPr/>
        </p:nvPicPr>
        <p:blipFill>
          <a:blip r:embed="rId7"/>
          <a:stretch>
            <a:fillRect/>
          </a:stretch>
        </p:blipFill>
        <p:spPr>
          <a:xfrm>
            <a:off x="6551771"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052C2109-C201-6D87-C7B9-CCF183200AAD}"/>
              </a:ext>
            </a:extLst>
          </p:cNvPr>
          <p:cNvPicPr/>
          <p:nvPr/>
        </p:nvPicPr>
        <p:blipFill>
          <a:blip r:embed="rId8"/>
          <a:stretch>
            <a:fillRect/>
          </a:stretch>
        </p:blipFill>
        <p:spPr>
          <a:xfrm>
            <a:off x="2667902"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a:solidFill>
                  <a:srgbClr val="000000"/>
                </a:solidFill>
                <a:effectLst/>
                <a:latin typeface="Arial" panose="020B0604020202020204" pitchFamily="34" charset="0"/>
              </a:rPr>
              <a:t>Per 2022 er 5</a:t>
            </a:r>
            <a:r>
              <a:rPr lang="nb-NO">
                <a:solidFill>
                  <a:srgbClr val="000000"/>
                </a:solidFill>
                <a:latin typeface="Arial" panose="020B0604020202020204" pitchFamily="34" charset="0"/>
              </a:rPr>
              <a:t>0 </a:t>
            </a:r>
            <a:r>
              <a:rPr lang="nb-NO" b="0" i="0">
                <a:solidFill>
                  <a:srgbClr val="000000"/>
                </a:solidFill>
                <a:effectLst/>
                <a:latin typeface="Arial" panose="020B0604020202020204" pitchFamily="34" charset="0"/>
              </a:rPr>
              <a:t>% av Flekkefjord kommune sitt areal dekket av skog, 26 % hav, 9 % ferskvann</a:t>
            </a:r>
            <a:r>
              <a:rPr lang="nb-NO">
                <a:solidFill>
                  <a:srgbClr val="000000"/>
                </a:solidFill>
                <a:latin typeface="Arial" panose="020B0604020202020204" pitchFamily="34" charset="0"/>
              </a:rPr>
              <a:t>,   3 % myr</a:t>
            </a:r>
            <a:r>
              <a:rPr lang="nb-NO" b="0" i="0">
                <a:solidFill>
                  <a:srgbClr val="000000"/>
                </a:solidFill>
                <a:effectLst/>
                <a:latin typeface="Arial" panose="020B0604020202020204" pitchFamily="34" charset="0"/>
              </a:rPr>
              <a:t>, mens fulldyrka jord utgjør 1,2 %. Bebygd areal og samferdsel utgjør til sammen 1,6 %. </a:t>
            </a:r>
            <a:endParaRPr lang="nb-NO"/>
          </a:p>
        </p:txBody>
      </p:sp>
      <p:pic>
        <p:nvPicPr>
          <p:cNvPr id="5" name="Bilde 4" descr="Stolpediagram som viser antall dekar per arealtype i kommunen.">
            <a:extLst>
              <a:ext uri="{FF2B5EF4-FFF2-40B4-BE49-F238E27FC236}">
                <a16:creationId xmlns:a16="http://schemas.microsoft.com/office/drawing/2014/main" id="{94CA5AA8-391E-5594-FC27-A8503A8CBBCD}"/>
              </a:ext>
            </a:extLst>
          </p:cNvPr>
          <p:cNvPicPr>
            <a:picLocks noChangeAspect="1"/>
          </p:cNvPicPr>
          <p:nvPr/>
        </p:nvPicPr>
        <p:blipFill>
          <a:blip r:embed="rId3"/>
          <a:stretch>
            <a:fillRect/>
          </a:stretch>
        </p:blipFill>
        <p:spPr>
          <a:xfrm>
            <a:off x="446522" y="2752165"/>
            <a:ext cx="5076825" cy="3057525"/>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a:t>Ca. 7 % av arealet i Flekkefjord er vernet etter naturmangfoldloven. </a:t>
            </a:r>
          </a:p>
          <a:p>
            <a:pPr marL="0" indent="0">
              <a:buNone/>
            </a:pPr>
            <a:r>
              <a:rPr lang="nb-NO" sz="180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335023442"/>
              </p:ext>
            </p:extLst>
          </p:nvPr>
        </p:nvGraphicFramePr>
        <p:xfrm>
          <a:off x="5978284" y="2752165"/>
          <a:ext cx="6040247" cy="30575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40108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3" y="267705"/>
            <a:ext cx="4699774" cy="685606"/>
          </a:xfrm>
        </p:spPr>
        <p:txBody>
          <a:bodyPr/>
          <a:lstStyle/>
          <a:p>
            <a:r>
              <a:rPr lang="nb-NO"/>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n-NO" sz="2000"/>
              <a:t>Regionalt </a:t>
            </a:r>
            <a:r>
              <a:rPr lang="nn-NO" sz="2000">
                <a:hlinkClick r:id="rId3"/>
              </a:rPr>
              <a:t>arealregnskap</a:t>
            </a:r>
            <a:r>
              <a:rPr lang="nn-NO" sz="2000"/>
              <a:t> er utarbeida ved å </a:t>
            </a:r>
            <a:r>
              <a:rPr lang="nn-NO" sz="2000" err="1"/>
              <a:t>sammenstille</a:t>
            </a:r>
            <a:r>
              <a:rPr lang="nn-NO" sz="2000"/>
              <a:t> kommuneplanen sin arealdel, digitale </a:t>
            </a:r>
            <a:r>
              <a:rPr lang="nn-NO" sz="2000" err="1"/>
              <a:t>reguleringsplaner</a:t>
            </a:r>
            <a:r>
              <a:rPr lang="nn-NO" sz="2000"/>
              <a:t>, arealressursdata (AR5 og AR50) og SSB sitt datasett for arealbruk. </a:t>
            </a:r>
          </a:p>
          <a:p>
            <a:r>
              <a:rPr lang="nn-NO" sz="2000"/>
              <a:t>Samla er det satt av byggeområde i natur tilsvarande 0,5 dekar per </a:t>
            </a:r>
            <a:r>
              <a:rPr lang="nn-NO" sz="2000" err="1"/>
              <a:t>innbygger</a:t>
            </a:r>
            <a:r>
              <a:rPr lang="nn-NO" sz="2000"/>
              <a:t>.</a:t>
            </a:r>
          </a:p>
          <a:p>
            <a:r>
              <a:rPr lang="nn-NO" sz="2000" err="1"/>
              <a:t>Gjeldende</a:t>
            </a:r>
            <a:r>
              <a:rPr lang="nn-NO" sz="2000"/>
              <a:t> planer </a:t>
            </a:r>
            <a:r>
              <a:rPr lang="nn-NO" sz="2000" err="1"/>
              <a:t>åpner</a:t>
            </a:r>
            <a:r>
              <a:rPr lang="nn-NO" sz="2000"/>
              <a:t> for utbygging av </a:t>
            </a:r>
            <a:r>
              <a:rPr lang="nn-NO" sz="2000" err="1"/>
              <a:t>mer</a:t>
            </a:r>
            <a:r>
              <a:rPr lang="nn-NO" sz="2000"/>
              <a:t> enn 3 000 dekar skog og nesten 400 dekar dyrka mark.</a:t>
            </a:r>
          </a:p>
          <a:p>
            <a:endParaRPr lang="nb-NO"/>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6236BE43-1BE6-A3D6-387C-5631889937B8}"/>
              </a:ext>
            </a:extLst>
          </p:cNvPr>
          <p:cNvPicPr>
            <a:picLocks noChangeAspect="1"/>
          </p:cNvPicPr>
          <p:nvPr/>
        </p:nvPicPr>
        <p:blipFill>
          <a:blip r:embed="rId4"/>
          <a:stretch>
            <a:fillRect/>
          </a:stretch>
        </p:blipFill>
        <p:spPr>
          <a:xfrm>
            <a:off x="5496128" y="665212"/>
            <a:ext cx="6585548" cy="5211955"/>
          </a:xfrm>
          <a:prstGeom prst="rect">
            <a:avLst/>
          </a:prstGeom>
        </p:spPr>
      </p:pic>
      <p:sp>
        <p:nvSpPr>
          <p:cNvPr id="3" name="TekstSylinder 2">
            <a:extLst>
              <a:ext uri="{FF2B5EF4-FFF2-40B4-BE49-F238E27FC236}">
                <a16:creationId xmlns:a16="http://schemas.microsoft.com/office/drawing/2014/main" id="{DCD36BE4-2642-0790-85B5-10EDD5C92D5D}"/>
              </a:ext>
            </a:extLst>
          </p:cNvPr>
          <p:cNvSpPr txBox="1"/>
          <p:nvPr/>
        </p:nvSpPr>
        <p:spPr>
          <a:xfrm>
            <a:off x="10572952" y="6163435"/>
            <a:ext cx="1431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a:t>Fritidsbebyggelse og eiere</a:t>
            </a:r>
          </a:p>
        </p:txBody>
      </p:sp>
      <p:sp>
        <p:nvSpPr>
          <p:cNvPr id="10" name="Plassholder for innhold 2"/>
          <p:cNvSpPr txBox="1">
            <a:spLocks/>
          </p:cNvSpPr>
          <p:nvPr/>
        </p:nvSpPr>
        <p:spPr>
          <a:xfrm>
            <a:off x="656704" y="1221114"/>
            <a:ext cx="4498955" cy="331846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a:t>Det er ca. 1600 bruksenheter til fritid i Flekkefjord, og ca. 2550 eiere (alle eierandeler inkludert).</a:t>
            </a:r>
          </a:p>
          <a:p>
            <a:endParaRPr lang="nb-NO" sz="2000"/>
          </a:p>
          <a:p>
            <a:r>
              <a:rPr lang="nb-NO" sz="2000"/>
              <a:t>Flekkefjord er største «hytteeierkommune».</a:t>
            </a:r>
          </a:p>
          <a:p>
            <a:endParaRPr lang="nb-NO" sz="2000"/>
          </a:p>
          <a:p>
            <a:r>
              <a:rPr lang="nb-NO" sz="2000"/>
              <a:t>Figur gir en oversikt på antall hytteeiere fordelt på kommuner.</a:t>
            </a:r>
          </a:p>
        </p:txBody>
      </p:sp>
      <p:pic>
        <p:nvPicPr>
          <p:cNvPr id="7" name="Bilde 6" descr="Bilde gir en oversikt på antall hytteeiere fordelt på kommuner. ">
            <a:extLst>
              <a:ext uri="{FF2B5EF4-FFF2-40B4-BE49-F238E27FC236}">
                <a16:creationId xmlns:a16="http://schemas.microsoft.com/office/drawing/2014/main" id="{D4B57540-F80C-A695-5212-E43CBD00800E}"/>
              </a:ext>
            </a:extLst>
          </p:cNvPr>
          <p:cNvPicPr>
            <a:picLocks noChangeAspect="1"/>
          </p:cNvPicPr>
          <p:nvPr/>
        </p:nvPicPr>
        <p:blipFill>
          <a:blip r:embed="rId3"/>
          <a:stretch>
            <a:fillRect/>
          </a:stretch>
        </p:blipFill>
        <p:spPr>
          <a:xfrm>
            <a:off x="5382225" y="1047902"/>
            <a:ext cx="5534025" cy="4362450"/>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Befolkning og demografi</a:t>
            </a:r>
          </a:p>
        </p:txBody>
      </p:sp>
      <p:sp>
        <p:nvSpPr>
          <p:cNvPr id="4" name="TekstSylinder 3"/>
          <p:cNvSpPr txBox="1"/>
          <p:nvPr/>
        </p:nvSpPr>
        <p:spPr>
          <a:xfrm>
            <a:off x="517355" y="5086133"/>
            <a:ext cx="4638305" cy="830997"/>
          </a:xfrm>
          <a:prstGeom prst="rect">
            <a:avLst/>
          </a:prstGeom>
          <a:noFill/>
        </p:spPr>
        <p:txBody>
          <a:bodyPr wrap="square" rtlCol="0">
            <a:spAutoFit/>
          </a:bodyPr>
          <a:lstStyle/>
          <a:p>
            <a:pPr algn="l"/>
            <a:r>
              <a:rPr lang="nb-NO" sz="1600"/>
              <a:t>SSB spår befolkningsnedgang i Flekkefjord som følge av negativt fødselsoverskudd og negativ netto innenlands flytting.</a:t>
            </a:r>
          </a:p>
        </p:txBody>
      </p:sp>
      <p:sp>
        <p:nvSpPr>
          <p:cNvPr id="8" name="TekstSylinder 7"/>
          <p:cNvSpPr txBox="1"/>
          <p:nvPr/>
        </p:nvSpPr>
        <p:spPr>
          <a:xfrm>
            <a:off x="5894023" y="4977917"/>
            <a:ext cx="6080725"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2,9 til 2,2 i 2040. Aldringen er sterkere i Flekkefjord enn snittet for Agder. </a:t>
            </a:r>
          </a:p>
        </p:txBody>
      </p:sp>
      <p:sp>
        <p:nvSpPr>
          <p:cNvPr id="3" name="TekstSylinder 2">
            <a:extLst>
              <a:ext uri="{FF2B5EF4-FFF2-40B4-BE49-F238E27FC236}">
                <a16:creationId xmlns:a16="http://schemas.microsoft.com/office/drawing/2014/main" id="{068D2664-0B7A-2A5F-F508-CEB0A08FAA22}"/>
              </a:ext>
            </a:extLst>
          </p:cNvPr>
          <p:cNvSpPr txBox="1"/>
          <p:nvPr/>
        </p:nvSpPr>
        <p:spPr>
          <a:xfrm>
            <a:off x="8972197" y="6274494"/>
            <a:ext cx="3170157" cy="369332"/>
          </a:xfrm>
          <a:prstGeom prst="rect">
            <a:avLst/>
          </a:prstGeom>
          <a:noFill/>
        </p:spPr>
        <p:txBody>
          <a:bodyPr wrap="square" rtlCol="0">
            <a:spAutoFit/>
          </a:bodyPr>
          <a:lstStyle/>
          <a:p>
            <a:pPr algn="l"/>
            <a:r>
              <a:rPr lang="nb-NO">
                <a:hlinkClick r:id="rId3"/>
              </a:rPr>
              <a:t>Rapport befolkningsutvikling</a:t>
            </a:r>
            <a:endParaRPr lang="nb-NO"/>
          </a:p>
        </p:txBody>
      </p:sp>
      <p:pic>
        <p:nvPicPr>
          <p:cNvPr id="6" name="Bilde 5"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305BC23D-9D7C-A93A-D3C9-3E7CDE55AE74}"/>
              </a:ext>
            </a:extLst>
          </p:cNvPr>
          <p:cNvPicPr>
            <a:picLocks noChangeAspect="1"/>
          </p:cNvPicPr>
          <p:nvPr/>
        </p:nvPicPr>
        <p:blipFill>
          <a:blip r:embed="rId4"/>
          <a:stretch>
            <a:fillRect/>
          </a:stretch>
        </p:blipFill>
        <p:spPr>
          <a:xfrm>
            <a:off x="389109" y="1440334"/>
            <a:ext cx="4772025" cy="3369791"/>
          </a:xfrm>
          <a:prstGeom prst="rect">
            <a:avLst/>
          </a:prstGeom>
        </p:spPr>
      </p:pic>
      <p:pic>
        <p:nvPicPr>
          <p:cNvPr id="11" name="Bilde 10"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6959AA73-96B8-D87B-25CA-800BD17C5405}"/>
              </a:ext>
            </a:extLst>
          </p:cNvPr>
          <p:cNvPicPr>
            <a:picLocks noChangeAspect="1"/>
          </p:cNvPicPr>
          <p:nvPr/>
        </p:nvPicPr>
        <p:blipFill>
          <a:blip r:embed="rId5"/>
          <a:stretch>
            <a:fillRect/>
          </a:stretch>
        </p:blipFill>
        <p:spPr>
          <a:xfrm>
            <a:off x="5913084" y="1440334"/>
            <a:ext cx="6103473" cy="3265016"/>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a:t>Befolkningsutvikling og distrikt</a:t>
            </a:r>
          </a:p>
        </p:txBody>
      </p:sp>
      <p:sp>
        <p:nvSpPr>
          <p:cNvPr id="5" name="TekstSylinder 4"/>
          <p:cNvSpPr txBox="1"/>
          <p:nvPr/>
        </p:nvSpPr>
        <p:spPr>
          <a:xfrm>
            <a:off x="496763" y="1476245"/>
            <a:ext cx="5873892" cy="4524315"/>
          </a:xfrm>
          <a:prstGeom prst="rect">
            <a:avLst/>
          </a:prstGeom>
          <a:noFill/>
        </p:spPr>
        <p:txBody>
          <a:bodyPr wrap="square" rtlCol="0">
            <a:spAutoFit/>
          </a:bodyPr>
          <a:lstStyle/>
          <a:p>
            <a:pPr algn="l"/>
            <a:r>
              <a:rPr lang="nb-NO"/>
              <a:t>Fra 2018 til 2023 økte folketallet i Flekkefjord med 150 personer (1,7 %). Dette skyldes utelukkende høy </a:t>
            </a:r>
            <a:r>
              <a:rPr lang="nb-NO" err="1"/>
              <a:t>flyktningtilstrømming</a:t>
            </a:r>
            <a:r>
              <a:rPr lang="nb-NO"/>
              <a:t> i 2022. </a:t>
            </a:r>
          </a:p>
          <a:p>
            <a:pPr algn="l"/>
            <a:endParaRPr lang="nb-NO"/>
          </a:p>
          <a:p>
            <a:r>
              <a:rPr lang="nb-NO"/>
              <a:t>I perioden for øvrig har veksten vært negativ eller svak. Nedgangen har i all hovedsak vært i mindre sentrale områder i kommunen, mens de sentrumsnære grunnkretsene har hatt en nokså god vekst. </a:t>
            </a:r>
          </a:p>
          <a:p>
            <a:endParaRPr lang="nb-NO"/>
          </a:p>
          <a:p>
            <a:r>
              <a:rPr lang="nb-NO"/>
              <a:t>Innvandring til byene, aldring, og søken etter nærhet til service/tjenester​ og arbeidsmarked​ gjør at mange kommuner kan oppleve vekst i kommunesenter og tettsteder uavhengig av befolkningsutviklingen i kommunen samlet sett. </a:t>
            </a:r>
          </a:p>
          <a:p>
            <a:endParaRPr lang="nb-NO"/>
          </a:p>
          <a:p>
            <a:endParaRPr lang="nb-NO"/>
          </a:p>
        </p:txBody>
      </p:sp>
      <p:pic>
        <p:nvPicPr>
          <p:cNvPr id="3" name="Bilde 2" descr="Et bilde som inneholder tekst og kart. SSB's rutenettstatistikk som viser befolkningsutvikling i kommunen."/>
          <p:cNvPicPr>
            <a:picLocks noChangeAspect="1"/>
          </p:cNvPicPr>
          <p:nvPr/>
        </p:nvPicPr>
        <p:blipFill>
          <a:blip r:embed="rId3">
            <a:extLst>
              <a:ext uri="{28A0092B-C50C-407E-A947-70E740481C1C}">
                <a14:useLocalDpi xmlns:a14="http://schemas.microsoft.com/office/drawing/2010/main" val="0"/>
              </a:ext>
            </a:extLst>
          </a:blip>
          <a:srcRect/>
          <a:stretch/>
        </p:blipFill>
        <p:spPr>
          <a:xfrm>
            <a:off x="6370655" y="191858"/>
            <a:ext cx="5610225" cy="5610225"/>
          </a:xfrm>
          <a:prstGeom prst="rect">
            <a:avLst/>
          </a:prstGeom>
        </p:spPr>
      </p:pic>
      <p:sp>
        <p:nvSpPr>
          <p:cNvPr id="6" name="TekstSylinder 5"/>
          <p:cNvSpPr txBox="1"/>
          <p:nvPr/>
        </p:nvSpPr>
        <p:spPr>
          <a:xfrm>
            <a:off x="4511040" y="6235255"/>
            <a:ext cx="7114903" cy="430887"/>
          </a:xfrm>
          <a:prstGeom prst="rect">
            <a:avLst/>
          </a:prstGeom>
          <a:noFill/>
        </p:spPr>
        <p:txBody>
          <a:bodyPr wrap="square" rtlCol="0">
            <a:spAutoFit/>
          </a:bodyPr>
          <a:lstStyle/>
          <a:p>
            <a:r>
              <a:rPr lang="nb-NO" sz="1100"/>
              <a:t>Kart over befolkningsutvikling i kommuner og grunnkretser: </a:t>
            </a:r>
            <a:r>
              <a:rPr lang="nb-NO" sz="1100">
                <a:hlinkClick r:id="rId4"/>
              </a:rPr>
              <a:t>https://agderfk.maps.arcgis.com/apps/instant/media/index.html?appid=df4d1214bd3941d19d7a0b68de9145b1</a:t>
            </a:r>
            <a:r>
              <a:rPr lang="nb-NO" sz="110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07280" y="295468"/>
            <a:ext cx="4960703" cy="685606"/>
          </a:xfrm>
        </p:spPr>
        <p:txBody>
          <a:bodyPr/>
          <a:lstStyle/>
          <a:p>
            <a:r>
              <a:rPr lang="nb-NO"/>
              <a:t>Boligbygging 	</a:t>
            </a:r>
          </a:p>
        </p:txBody>
      </p:sp>
      <p:sp>
        <p:nvSpPr>
          <p:cNvPr id="7" name="Plassholder for innhold 2"/>
          <p:cNvSpPr txBox="1">
            <a:spLocks/>
          </p:cNvSpPr>
          <p:nvPr/>
        </p:nvSpPr>
        <p:spPr>
          <a:xfrm>
            <a:off x="469698" y="1229879"/>
            <a:ext cx="5362259" cy="1013736"/>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a:t>I perioden 2018-2023 ble det i gjennomsnitt igangsatt 34 boliger i året, hvorav ca. 43 % var eneboliger.</a:t>
            </a:r>
          </a:p>
        </p:txBody>
      </p:sp>
      <p:sp>
        <p:nvSpPr>
          <p:cNvPr id="6" name="Tittel 1">
            <a:extLst>
              <a:ext uri="{FF2B5EF4-FFF2-40B4-BE49-F238E27FC236}">
                <a16:creationId xmlns:a16="http://schemas.microsoft.com/office/drawing/2014/main" id="{CE5207F9-4FA9-E328-167B-6EB1EF6311FA}"/>
              </a:ext>
            </a:extLst>
          </p:cNvPr>
          <p:cNvSpPr txBox="1">
            <a:spLocks/>
          </p:cNvSpPr>
          <p:nvPr/>
        </p:nvSpPr>
        <p:spPr>
          <a:xfrm>
            <a:off x="6524019" y="295864"/>
            <a:ext cx="4960703"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a:t>Det er 4 733 boliger i kommunen (bebodde og ubebodde).</a:t>
            </a:r>
          </a:p>
        </p:txBody>
      </p:sp>
      <p:sp>
        <p:nvSpPr>
          <p:cNvPr id="5" name="TekstSylinder 4">
            <a:extLst>
              <a:ext uri="{FF2B5EF4-FFF2-40B4-BE49-F238E27FC236}">
                <a16:creationId xmlns:a16="http://schemas.microsoft.com/office/drawing/2014/main" id="{72C38B41-131A-AFC1-9683-784948204578}"/>
              </a:ext>
            </a:extLst>
          </p:cNvPr>
          <p:cNvSpPr txBox="1"/>
          <p:nvPr/>
        </p:nvSpPr>
        <p:spPr>
          <a:xfrm>
            <a:off x="9572410" y="6270703"/>
            <a:ext cx="2423432" cy="369332"/>
          </a:xfrm>
          <a:prstGeom prst="rect">
            <a:avLst/>
          </a:prstGeom>
          <a:noFill/>
        </p:spPr>
        <p:txBody>
          <a:bodyPr wrap="square" rtlCol="0">
            <a:spAutoFit/>
          </a:bodyPr>
          <a:lstStyle/>
          <a:p>
            <a:pPr algn="l"/>
            <a:r>
              <a:rPr lang="nb-NO">
                <a:hlinkClick r:id="rId3"/>
              </a:rPr>
              <a:t>Rapport boligstatistikk</a:t>
            </a:r>
            <a:endParaRPr lang="nb-NO"/>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915946444"/>
              </p:ext>
            </p:extLst>
          </p:nvPr>
        </p:nvGraphicFramePr>
        <p:xfrm>
          <a:off x="707280" y="2492420"/>
          <a:ext cx="5100743"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270201206"/>
              </p:ext>
            </p:extLst>
          </p:nvPr>
        </p:nvGraphicFramePr>
        <p:xfrm>
          <a:off x="6383979" y="2492419"/>
          <a:ext cx="5808021" cy="324971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88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265174"/>
            <a:ext cx="10153651" cy="685606"/>
          </a:xfrm>
        </p:spPr>
        <p:txBody>
          <a:bodyPr/>
          <a:lstStyle/>
          <a:p>
            <a:r>
              <a:rPr lang="nb-NO"/>
              <a:t>Sysselsetting</a:t>
            </a:r>
          </a:p>
        </p:txBody>
      </p:sp>
      <p:sp>
        <p:nvSpPr>
          <p:cNvPr id="5" name="Plassholder for innhold 3"/>
          <p:cNvSpPr>
            <a:spLocks noGrp="1"/>
          </p:cNvSpPr>
          <p:nvPr>
            <p:ph sz="half" idx="1"/>
          </p:nvPr>
        </p:nvSpPr>
        <p:spPr>
          <a:xfrm>
            <a:off x="573578" y="1079110"/>
            <a:ext cx="5277911" cy="2583627"/>
          </a:xfrm>
        </p:spPr>
        <p:txBody>
          <a:bodyPr/>
          <a:lstStyle/>
          <a:p>
            <a:pPr marL="0" indent="0">
              <a:buNone/>
            </a:pPr>
            <a:r>
              <a:rPr lang="nb-NO" sz="2000" i="1"/>
              <a:t>Regionale forskjeller:</a:t>
            </a:r>
          </a:p>
          <a:p>
            <a:r>
              <a:rPr lang="nb-NO" sz="2000"/>
              <a:t>Lavest sysselsettingsandel helt øst i Agder, og høyest  andel i de aller minst sentrale kommunene.</a:t>
            </a:r>
          </a:p>
          <a:p>
            <a:pPr marL="0" indent="0">
              <a:buNone/>
            </a:pPr>
            <a:r>
              <a:rPr lang="nb-NO" sz="2000" i="1"/>
              <a:t>Flekkefjord:</a:t>
            </a:r>
          </a:p>
          <a:p>
            <a:r>
              <a:rPr lang="nb-NO" sz="2000"/>
              <a:t>Høyere sysselsettingsandel enn gjennomsnittet for fylket. </a:t>
            </a:r>
          </a:p>
        </p:txBody>
      </p:sp>
      <p:graphicFrame>
        <p:nvGraphicFramePr>
          <p:cNvPr id="6" name="Tabell 5"/>
          <p:cNvGraphicFramePr>
            <a:graphicFrameLocks noGrp="1"/>
          </p:cNvGraphicFramePr>
          <p:nvPr>
            <p:extLst>
              <p:ext uri="{D42A27DB-BD31-4B8C-83A1-F6EECF244321}">
                <p14:modId xmlns:p14="http://schemas.microsoft.com/office/powerpoint/2010/main" val="125982617"/>
              </p:ext>
            </p:extLst>
          </p:nvPr>
        </p:nvGraphicFramePr>
        <p:xfrm>
          <a:off x="573578" y="3765701"/>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a:t>20-66</a:t>
                      </a:r>
                      <a:endParaRPr lang="nb-NO" sz="1600" b="1"/>
                    </a:p>
                  </a:txBody>
                  <a:tcPr anchor="ctr"/>
                </a:tc>
                <a:tc>
                  <a:txBody>
                    <a:bodyPr/>
                    <a:lstStyle/>
                    <a:p>
                      <a:pPr algn="ctr"/>
                      <a:r>
                        <a:rPr lang="nb-NO" sz="1600"/>
                        <a:t>Begge kjønn</a:t>
                      </a:r>
                      <a:endParaRPr lang="nb-NO" sz="1600" b="1"/>
                    </a:p>
                  </a:txBody>
                  <a:tcPr anchor="ctr"/>
                </a:tc>
                <a:tc>
                  <a:txBody>
                    <a:bodyPr/>
                    <a:lstStyle/>
                    <a:p>
                      <a:pPr algn="ctr"/>
                      <a:r>
                        <a:rPr lang="nb-NO" sz="1600"/>
                        <a:t>Menn</a:t>
                      </a:r>
                      <a:endParaRPr lang="nb-NO" sz="1600" b="1"/>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t>Kvinner</a:t>
                      </a:r>
                      <a:endParaRPr lang="nb-NO" sz="1600" b="1"/>
                    </a:p>
                  </a:txBody>
                  <a:tcPr anchor="ctr"/>
                </a:tc>
                <a:extLst>
                  <a:ext uri="{0D108BD9-81ED-4DB2-BD59-A6C34878D82A}">
                    <a16:rowId xmlns:a16="http://schemas.microsoft.com/office/drawing/2014/main" val="957641228"/>
                  </a:ext>
                </a:extLst>
              </a:tr>
              <a:tr h="269427">
                <a:tc>
                  <a:txBody>
                    <a:bodyPr/>
                    <a:lstStyle/>
                    <a:p>
                      <a:pPr algn="ctr"/>
                      <a:r>
                        <a:rPr lang="nb-NO" sz="1400"/>
                        <a:t>Flekkefjord</a:t>
                      </a:r>
                      <a:endParaRPr lang="nb-NO" sz="1400" b="1"/>
                    </a:p>
                  </a:txBody>
                  <a:tcPr anchor="ctr"/>
                </a:tc>
                <a:tc>
                  <a:txBody>
                    <a:bodyPr/>
                    <a:lstStyle/>
                    <a:p>
                      <a:pPr algn="ctr"/>
                      <a:r>
                        <a:rPr lang="nb-NO" sz="1400"/>
                        <a:t>74,7</a:t>
                      </a:r>
                      <a:endParaRPr lang="nb-NO" sz="1400" b="1"/>
                    </a:p>
                  </a:txBody>
                  <a:tcPr anchor="ctr"/>
                </a:tc>
                <a:tc>
                  <a:txBody>
                    <a:bodyPr/>
                    <a:lstStyle/>
                    <a:p>
                      <a:pPr algn="ctr"/>
                      <a:r>
                        <a:rPr lang="nb-NO" sz="1400"/>
                        <a:t>77,4</a:t>
                      </a:r>
                      <a:endParaRPr lang="nb-NO" sz="1400" b="1"/>
                    </a:p>
                  </a:txBody>
                  <a:tcPr anchor="ctr"/>
                </a:tc>
                <a:tc>
                  <a:txBody>
                    <a:bodyPr/>
                    <a:lstStyle/>
                    <a:p>
                      <a:pPr algn="ctr"/>
                      <a:r>
                        <a:rPr lang="nb-NO" sz="1400"/>
                        <a:t>71,8</a:t>
                      </a:r>
                      <a:endParaRPr lang="nb-NO" sz="1400" b="1"/>
                    </a:p>
                  </a:txBody>
                  <a:tcPr anchor="ctr"/>
                </a:tc>
                <a:extLst>
                  <a:ext uri="{0D108BD9-81ED-4DB2-BD59-A6C34878D82A}">
                    <a16:rowId xmlns:a16="http://schemas.microsoft.com/office/drawing/2014/main" val="4145178818"/>
                  </a:ext>
                </a:extLst>
              </a:tr>
              <a:tr h="269427">
                <a:tc>
                  <a:txBody>
                    <a:bodyPr/>
                    <a:lstStyle/>
                    <a:p>
                      <a:pPr algn="ctr"/>
                      <a:r>
                        <a:rPr lang="nb-NO" sz="1400"/>
                        <a:t>Agder</a:t>
                      </a:r>
                      <a:endParaRPr lang="nb-NO" sz="1400" b="1"/>
                    </a:p>
                  </a:txBody>
                  <a:tcPr anchor="ctr"/>
                </a:tc>
                <a:tc>
                  <a:txBody>
                    <a:bodyPr/>
                    <a:lstStyle/>
                    <a:p>
                      <a:pPr algn="ctr"/>
                      <a:r>
                        <a:rPr lang="nb-NO" sz="1400"/>
                        <a:t>73,6</a:t>
                      </a:r>
                      <a:endParaRPr lang="nb-NO" sz="1400" b="1"/>
                    </a:p>
                  </a:txBody>
                  <a:tcPr anchor="ctr"/>
                </a:tc>
                <a:tc>
                  <a:txBody>
                    <a:bodyPr/>
                    <a:lstStyle/>
                    <a:p>
                      <a:pPr algn="ctr"/>
                      <a:r>
                        <a:rPr lang="nb-NO" sz="1400"/>
                        <a:t>76,6</a:t>
                      </a:r>
                      <a:endParaRPr lang="nb-NO" sz="1400" b="1"/>
                    </a:p>
                  </a:txBody>
                  <a:tcPr anchor="ctr"/>
                </a:tc>
                <a:tc>
                  <a:txBody>
                    <a:bodyPr/>
                    <a:lstStyle/>
                    <a:p>
                      <a:pPr algn="ctr"/>
                      <a:r>
                        <a:rPr lang="nb-NO" sz="1400"/>
                        <a:t>70,6</a:t>
                      </a:r>
                      <a:endParaRPr lang="nb-NO" sz="1400" b="1"/>
                    </a:p>
                  </a:txBody>
                  <a:tcPr anchor="ctr"/>
                </a:tc>
                <a:extLst>
                  <a:ext uri="{0D108BD9-81ED-4DB2-BD59-A6C34878D82A}">
                    <a16:rowId xmlns:a16="http://schemas.microsoft.com/office/drawing/2014/main" val="2028139095"/>
                  </a:ext>
                </a:extLst>
              </a:tr>
              <a:tr h="269427">
                <a:tc>
                  <a:txBody>
                    <a:bodyPr/>
                    <a:lstStyle/>
                    <a:p>
                      <a:pPr algn="ctr"/>
                      <a:r>
                        <a:rPr lang="nb-NO" sz="1400"/>
                        <a:t>Norge</a:t>
                      </a:r>
                      <a:endParaRPr lang="nb-NO" sz="1400" b="1"/>
                    </a:p>
                  </a:txBody>
                  <a:tcPr anchor="ctr"/>
                </a:tc>
                <a:tc>
                  <a:txBody>
                    <a:bodyPr/>
                    <a:lstStyle/>
                    <a:p>
                      <a:pPr algn="ctr"/>
                      <a:r>
                        <a:rPr lang="nb-NO" sz="1400"/>
                        <a:t>77,2</a:t>
                      </a:r>
                      <a:endParaRPr lang="nb-NO" sz="1400" b="1"/>
                    </a:p>
                  </a:txBody>
                  <a:tcPr anchor="ctr"/>
                </a:tc>
                <a:tc>
                  <a:txBody>
                    <a:bodyPr/>
                    <a:lstStyle/>
                    <a:p>
                      <a:pPr algn="ctr"/>
                      <a:r>
                        <a:rPr lang="nb-NO" sz="1400"/>
                        <a:t>79,5</a:t>
                      </a:r>
                      <a:endParaRPr lang="nb-NO" sz="1400" b="1"/>
                    </a:p>
                  </a:txBody>
                  <a:tcPr anchor="ctr"/>
                </a:tc>
                <a:tc>
                  <a:txBody>
                    <a:bodyPr/>
                    <a:lstStyle/>
                    <a:p>
                      <a:pPr algn="ctr"/>
                      <a:r>
                        <a:rPr lang="nb-NO" sz="1400"/>
                        <a:t>74,8</a:t>
                      </a:r>
                      <a:endParaRPr lang="nb-NO" sz="1400" b="1"/>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2657CD77-47C6-5BFC-5EDA-CF9073283A46}"/>
              </a:ext>
            </a:extLst>
          </p:cNvPr>
          <p:cNvSpPr txBox="1"/>
          <p:nvPr/>
        </p:nvSpPr>
        <p:spPr>
          <a:xfrm>
            <a:off x="498465" y="5473170"/>
            <a:ext cx="2423432" cy="369332"/>
          </a:xfrm>
          <a:prstGeom prst="rect">
            <a:avLst/>
          </a:prstGeom>
          <a:noFill/>
        </p:spPr>
        <p:txBody>
          <a:bodyPr wrap="square" rtlCol="0">
            <a:spAutoFit/>
          </a:bodyPr>
          <a:lstStyle/>
          <a:p>
            <a:pPr algn="l"/>
            <a:r>
              <a:rPr lang="nb-NO">
                <a:hlinkClick r:id="rId3"/>
              </a:rPr>
              <a:t>Rapport sysselsetting</a:t>
            </a:r>
            <a:endParaRPr lang="nb-NO"/>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349EAD55-3964-EECF-3CA3-5584868A594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Bilde 41" descr="Et bilde som viser de viktigste pendlingsrelasjonene for kommunen.">
            <a:extLst>
              <a:ext uri="{FF2B5EF4-FFF2-40B4-BE49-F238E27FC236}">
                <a16:creationId xmlns:a16="http://schemas.microsoft.com/office/drawing/2014/main" id="{EAC818AA-139F-1D5B-A1C0-1C6F00CEC76E}"/>
              </a:ext>
            </a:extLst>
          </p:cNvPr>
          <p:cNvPicPr>
            <a:picLocks noChangeAspect="1"/>
          </p:cNvPicPr>
          <p:nvPr/>
        </p:nvPicPr>
        <p:blipFill>
          <a:blip r:embed="rId4"/>
          <a:stretch>
            <a:fillRect/>
          </a:stretch>
        </p:blipFill>
        <p:spPr>
          <a:xfrm>
            <a:off x="170240" y="2918490"/>
            <a:ext cx="4799295" cy="3139964"/>
          </a:xfrm>
          <a:prstGeom prst="rect">
            <a:avLst/>
          </a:prstGeom>
        </p:spPr>
      </p:pic>
      <p:sp>
        <p:nvSpPr>
          <p:cNvPr id="2" name="Tittel 1"/>
          <p:cNvSpPr>
            <a:spLocks noGrp="1"/>
          </p:cNvSpPr>
          <p:nvPr>
            <p:ph type="title"/>
          </p:nvPr>
        </p:nvSpPr>
        <p:spPr>
          <a:xfrm>
            <a:off x="450574" y="443797"/>
            <a:ext cx="5218706" cy="557044"/>
          </a:xfrm>
        </p:spPr>
        <p:txBody>
          <a:bodyPr/>
          <a:lstStyle/>
          <a:p>
            <a:pPr algn="ctr"/>
            <a:r>
              <a:rPr lang="nb-NO">
                <a:solidFill>
                  <a:schemeClr val="bg2">
                    <a:lumMod val="10000"/>
                  </a:schemeClr>
                </a:solidFill>
              </a:rPr>
              <a:t>Bo- og arbeidsmarkeder</a:t>
            </a:r>
          </a:p>
        </p:txBody>
      </p:sp>
      <p:sp>
        <p:nvSpPr>
          <p:cNvPr id="3" name="Plassholder for innhold 2"/>
          <p:cNvSpPr>
            <a:spLocks noGrp="1"/>
          </p:cNvSpPr>
          <p:nvPr>
            <p:ph idx="1"/>
          </p:nvPr>
        </p:nvSpPr>
        <p:spPr>
          <a:xfrm>
            <a:off x="527347" y="1189554"/>
            <a:ext cx="6566670" cy="1619154"/>
          </a:xfrm>
        </p:spPr>
        <p:txBody>
          <a:bodyPr>
            <a:noAutofit/>
          </a:bodyPr>
          <a:lstStyle/>
          <a:p>
            <a:r>
              <a:rPr lang="nb-NO" sz="2000"/>
              <a:t>72 % av de sysselsatte med bosted i Flekkefjord jobber i hjemkommunen. 11 % jobber i Rogaland, og 6 % jobber i Kvinesdal. Hele 16 % av de sysselsatte med bosted i Kvinesdal jobber i Flekkefjord, og Flekkefjord defineres derfor som senterkommune for Kvinesdal. </a:t>
            </a:r>
          </a:p>
          <a:p>
            <a:endParaRPr lang="nb-NO" sz="2000" i="1"/>
          </a:p>
        </p:txBody>
      </p:sp>
      <p:sp>
        <p:nvSpPr>
          <p:cNvPr id="29" name="TekstSylinder 28"/>
          <p:cNvSpPr txBox="1"/>
          <p:nvPr/>
        </p:nvSpPr>
        <p:spPr>
          <a:xfrm>
            <a:off x="4133471" y="4369258"/>
            <a:ext cx="1793966" cy="646331"/>
          </a:xfrm>
          <a:prstGeom prst="rect">
            <a:avLst/>
          </a:prstGeom>
          <a:noFill/>
        </p:spPr>
        <p:txBody>
          <a:bodyPr wrap="square" rtlCol="0">
            <a:spAutoFit/>
          </a:bodyPr>
          <a:lstStyle/>
          <a:p>
            <a:pPr algn="l"/>
            <a:r>
              <a:rPr lang="nb-NO" sz="1200"/>
              <a:t>Kommunens viktigste pendlingsrelasjoner per 4. </a:t>
            </a:r>
            <a:r>
              <a:rPr lang="nb-NO" sz="1200" err="1"/>
              <a:t>kv</a:t>
            </a:r>
            <a:r>
              <a:rPr lang="nb-NO" sz="1200"/>
              <a:t> 2023 (SSB)</a:t>
            </a:r>
          </a:p>
        </p:txBody>
      </p:sp>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131151" y="863044"/>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a:t>Kilde: TØI 1713/2019</a:t>
            </a:r>
          </a:p>
        </p:txBody>
      </p:sp>
      <p:sp>
        <p:nvSpPr>
          <p:cNvPr id="6" name="TekstSylinder 5">
            <a:extLst>
              <a:ext uri="{FF2B5EF4-FFF2-40B4-BE49-F238E27FC236}">
                <a16:creationId xmlns:a16="http://schemas.microsoft.com/office/drawing/2014/main" id="{2B848CFA-6AE5-2E6E-CF21-DC7FB621BE06}"/>
              </a:ext>
            </a:extLst>
          </p:cNvPr>
          <p:cNvSpPr txBox="1"/>
          <p:nvPr/>
        </p:nvSpPr>
        <p:spPr>
          <a:xfrm>
            <a:off x="8281141" y="6135280"/>
            <a:ext cx="2067793" cy="369332"/>
          </a:xfrm>
          <a:prstGeom prst="rect">
            <a:avLst/>
          </a:prstGeom>
          <a:noFill/>
        </p:spPr>
        <p:txBody>
          <a:bodyPr wrap="square" rtlCol="0">
            <a:spAutoFit/>
          </a:bodyPr>
          <a:lstStyle/>
          <a:p>
            <a:pPr algn="l"/>
            <a:r>
              <a:rPr lang="nb-NO">
                <a:hlinkClick r:id="rId5"/>
              </a:rPr>
              <a:t>Rapport pendling</a:t>
            </a:r>
            <a:endParaRPr lang="nb-NO"/>
          </a:p>
        </p:txBody>
      </p:sp>
    </p:spTree>
    <p:extLst>
      <p:ext uri="{BB962C8B-B14F-4D97-AF65-F5344CB8AC3E}">
        <p14:creationId xmlns:p14="http://schemas.microsoft.com/office/powerpoint/2010/main" val="175199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Sektorfordeling og ansattutvikling</a:t>
            </a:r>
          </a:p>
        </p:txBody>
      </p:sp>
      <p:sp>
        <p:nvSpPr>
          <p:cNvPr id="10" name="TekstSylinder 9"/>
          <p:cNvSpPr txBox="1"/>
          <p:nvPr/>
        </p:nvSpPr>
        <p:spPr>
          <a:xfrm>
            <a:off x="676027" y="4808916"/>
            <a:ext cx="5865341" cy="830997"/>
          </a:xfrm>
          <a:prstGeom prst="rect">
            <a:avLst/>
          </a:prstGeom>
          <a:noFill/>
        </p:spPr>
        <p:txBody>
          <a:bodyPr wrap="square" rtlCol="0">
            <a:spAutoFit/>
          </a:bodyPr>
          <a:lstStyle/>
          <a:p>
            <a:pPr algn="l"/>
            <a:r>
              <a:rPr lang="nb-NO" sz="1600"/>
              <a:t>Flekkefjord har en lavere andel ansatte i privat sektor enn snittet for Agder og Norge. Antall ansatte i privat sektor har økt med ca. 250 personer siden 2018.</a:t>
            </a:r>
          </a:p>
        </p:txBody>
      </p:sp>
      <p:graphicFrame>
        <p:nvGraphicFramePr>
          <p:cNvPr id="8" name="Tabell 7">
            <a:extLst>
              <a:ext uri="{FF2B5EF4-FFF2-40B4-BE49-F238E27FC236}">
                <a16:creationId xmlns:a16="http://schemas.microsoft.com/office/drawing/2014/main" id="{1F04DA60-B7B3-B4E8-515E-A41EE2EA22A3}"/>
              </a:ext>
            </a:extLst>
          </p:cNvPr>
          <p:cNvGraphicFramePr>
            <a:graphicFrameLocks noGrp="1"/>
          </p:cNvGraphicFramePr>
          <p:nvPr>
            <p:extLst>
              <p:ext uri="{D42A27DB-BD31-4B8C-83A1-F6EECF244321}">
                <p14:modId xmlns:p14="http://schemas.microsoft.com/office/powerpoint/2010/main" val="566906118"/>
              </p:ext>
            </p:extLst>
          </p:nvPr>
        </p:nvGraphicFramePr>
        <p:xfrm>
          <a:off x="7404596" y="4671968"/>
          <a:ext cx="4661428" cy="1164405"/>
        </p:xfrm>
        <a:graphic>
          <a:graphicData uri="http://schemas.openxmlformats.org/drawingml/2006/table">
            <a:tbl>
              <a:tblPr firstRow="1"/>
              <a:tblGrid>
                <a:gridCol w="1703190">
                  <a:extLst>
                    <a:ext uri="{9D8B030D-6E8A-4147-A177-3AD203B41FA5}">
                      <a16:colId xmlns:a16="http://schemas.microsoft.com/office/drawing/2014/main" val="2999372120"/>
                    </a:ext>
                  </a:extLst>
                </a:gridCol>
                <a:gridCol w="475131">
                  <a:extLst>
                    <a:ext uri="{9D8B030D-6E8A-4147-A177-3AD203B41FA5}">
                      <a16:colId xmlns:a16="http://schemas.microsoft.com/office/drawing/2014/main" val="2329506778"/>
                    </a:ext>
                  </a:extLst>
                </a:gridCol>
                <a:gridCol w="726107">
                  <a:extLst>
                    <a:ext uri="{9D8B030D-6E8A-4147-A177-3AD203B41FA5}">
                      <a16:colId xmlns:a16="http://schemas.microsoft.com/office/drawing/2014/main" val="3073205391"/>
                    </a:ext>
                  </a:extLst>
                </a:gridCol>
                <a:gridCol w="753001">
                  <a:extLst>
                    <a:ext uri="{9D8B030D-6E8A-4147-A177-3AD203B41FA5}">
                      <a16:colId xmlns:a16="http://schemas.microsoft.com/office/drawing/2014/main" val="2459591227"/>
                    </a:ext>
                  </a:extLst>
                </a:gridCol>
                <a:gridCol w="1003999">
                  <a:extLst>
                    <a:ext uri="{9D8B030D-6E8A-4147-A177-3AD203B41FA5}">
                      <a16:colId xmlns:a16="http://schemas.microsoft.com/office/drawing/2014/main" val="1307978514"/>
                    </a:ext>
                  </a:extLst>
                </a:gridCol>
              </a:tblGrid>
              <a:tr h="142679">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Flekkefjor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732135326"/>
                  </a:ext>
                </a:extLst>
              </a:tr>
              <a:tr h="142679">
                <a:tc>
                  <a:txBody>
                    <a:bodyPr/>
                    <a:lstStyle/>
                    <a:p>
                      <a:pPr algn="l" fontAlgn="b"/>
                      <a:r>
                        <a:rPr lang="nb-NO" sz="1000" b="1" i="0" u="none" strike="noStrike">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47233002"/>
                  </a:ext>
                </a:extLst>
              </a:tr>
              <a:tr h="159918">
                <a:tc>
                  <a:txBody>
                    <a:bodyPr/>
                    <a:lstStyle/>
                    <a:p>
                      <a:pPr algn="l" fontAlgn="b"/>
                      <a:r>
                        <a:rPr lang="nb-NO" sz="1000" b="0" i="0" u="none" strike="noStrike">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347627"/>
                  </a:ext>
                </a:extLst>
              </a:tr>
              <a:tr h="192855">
                <a:tc>
                  <a:txBody>
                    <a:bodyPr/>
                    <a:lstStyle/>
                    <a:p>
                      <a:pPr algn="l" fontAlgn="b"/>
                      <a:r>
                        <a:rPr lang="nb-NO" sz="1000" b="0" i="0" u="none" strike="noStrike">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0226139"/>
                  </a:ext>
                </a:extLst>
              </a:tr>
              <a:tr h="142679">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5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1,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0272261"/>
                  </a:ext>
                </a:extLst>
              </a:tr>
              <a:tr h="159918">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1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6,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49521"/>
                  </a:ext>
                </a:extLst>
              </a:tr>
              <a:tr h="142679">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57,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2049362"/>
                  </a:ext>
                </a:extLst>
              </a:tr>
            </a:tbl>
          </a:graphicData>
        </a:graphic>
      </p:graphicFrame>
      <p:graphicFrame>
        <p:nvGraphicFramePr>
          <p:cNvPr id="3" name="Diagram 2"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2914444850"/>
              </p:ext>
            </p:extLst>
          </p:nvPr>
        </p:nvGraphicFramePr>
        <p:xfrm>
          <a:off x="551172" y="1550890"/>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648442119"/>
              </p:ext>
            </p:extLst>
          </p:nvPr>
        </p:nvGraphicFramePr>
        <p:xfrm>
          <a:off x="6890059" y="1550890"/>
          <a:ext cx="5175966" cy="31051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Props1.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2.xml><?xml version="1.0" encoding="utf-8"?>
<ds:datastoreItem xmlns:ds="http://schemas.openxmlformats.org/officeDocument/2006/customXml" ds:itemID="{54B40BF4-1EF9-46F8-9907-2643F37E4D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E84CB8-E3BC-4ED1-9892-48BFB2DA6766}">
  <ds:schemaRefs>
    <ds:schemaRef ds:uri="549b603a-3c19-46c1-8987-e792084663ae"/>
    <ds:schemaRef ds:uri="dbde4e59-9b61-48a0-a4d9-cce2922754f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188</TotalTime>
  <Words>2673</Words>
  <Application>Microsoft Office PowerPoint</Application>
  <PresentationFormat>Widescreen</PresentationFormat>
  <Paragraphs>354</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Flekkefjord</vt:lpstr>
      <vt:lpstr>Kjappe fakta om Flekkefjord kommune</vt:lpstr>
      <vt:lpstr>Befolkning og demografi</vt:lpstr>
      <vt:lpstr>Befolkningsutvikling og distrikt</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1</cp:revision>
  <dcterms:created xsi:type="dcterms:W3CDTF">2021-09-13T19:20:02Z</dcterms:created>
  <dcterms:modified xsi:type="dcterms:W3CDTF">2024-12-16T09:4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